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9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2.xml" ContentType="application/vnd.openxmlformats-officedocument.drawingml.chart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3.xml" ContentType="application/vnd.openxmlformats-officedocument.drawingml.chart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4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5.xml" ContentType="application/vnd.openxmlformats-officedocument.drawingml.chart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4.xml" ContentType="application/vnd.openxmlformats-officedocument.presentationml.notesSlide+xml"/>
  <Override PartName="/ppt/tags/tag20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6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18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19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charts/chart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1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32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3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4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5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6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7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charts/chart38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9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charts/chart40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1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charts/chart4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3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64" r:id="rId8"/>
    <p:sldMasterId id="2147483875" r:id="rId9"/>
  </p:sldMasterIdLst>
  <p:notesMasterIdLst>
    <p:notesMasterId r:id="rId64"/>
  </p:notesMasterIdLst>
  <p:sldIdLst>
    <p:sldId id="1751" r:id="rId10"/>
    <p:sldId id="1801" r:id="rId11"/>
    <p:sldId id="1403" r:id="rId12"/>
    <p:sldId id="1768" r:id="rId13"/>
    <p:sldId id="2183" r:id="rId14"/>
    <p:sldId id="2181" r:id="rId15"/>
    <p:sldId id="2182" r:id="rId16"/>
    <p:sldId id="2184" r:id="rId17"/>
    <p:sldId id="2185" r:id="rId18"/>
    <p:sldId id="1820" r:id="rId19"/>
    <p:sldId id="1882" r:id="rId20"/>
    <p:sldId id="2155" r:id="rId21"/>
    <p:sldId id="2163" r:id="rId22"/>
    <p:sldId id="2164" r:id="rId23"/>
    <p:sldId id="1822" r:id="rId24"/>
    <p:sldId id="1404" r:id="rId25"/>
    <p:sldId id="1405" r:id="rId26"/>
    <p:sldId id="2121" r:id="rId27"/>
    <p:sldId id="2122" r:id="rId28"/>
    <p:sldId id="2123" r:id="rId29"/>
    <p:sldId id="2180" r:id="rId30"/>
    <p:sldId id="2124" r:id="rId31"/>
    <p:sldId id="2141" r:id="rId32"/>
    <p:sldId id="2125" r:id="rId33"/>
    <p:sldId id="2126" r:id="rId34"/>
    <p:sldId id="2165" r:id="rId35"/>
    <p:sldId id="2179" r:id="rId36"/>
    <p:sldId id="1727" r:id="rId37"/>
    <p:sldId id="2176" r:id="rId38"/>
    <p:sldId id="2177" r:id="rId39"/>
    <p:sldId id="2178" r:id="rId40"/>
    <p:sldId id="1917" r:id="rId41"/>
    <p:sldId id="2168" r:id="rId42"/>
    <p:sldId id="2186" r:id="rId43"/>
    <p:sldId id="1415" r:id="rId44"/>
    <p:sldId id="1416" r:id="rId45"/>
    <p:sldId id="2174" r:id="rId46"/>
    <p:sldId id="1417" r:id="rId47"/>
    <p:sldId id="2175" r:id="rId48"/>
    <p:sldId id="1835" r:id="rId49"/>
    <p:sldId id="1409" r:id="rId50"/>
    <p:sldId id="2187" r:id="rId51"/>
    <p:sldId id="2188" r:id="rId52"/>
    <p:sldId id="1894" r:id="rId53"/>
    <p:sldId id="2086" r:id="rId54"/>
    <p:sldId id="2114" r:id="rId55"/>
    <p:sldId id="2108" r:id="rId56"/>
    <p:sldId id="1772" r:id="rId57"/>
    <p:sldId id="2169" r:id="rId58"/>
    <p:sldId id="2107" r:id="rId59"/>
    <p:sldId id="2170" r:id="rId60"/>
    <p:sldId id="2171" r:id="rId61"/>
    <p:sldId id="2172" r:id="rId62"/>
    <p:sldId id="2173" r:id="rId63"/>
  </p:sldIdLst>
  <p:sldSz cx="12192000" cy="6858000"/>
  <p:notesSz cx="6858000" cy="9144000"/>
  <p:embeddedFontLst>
    <p:embeddedFont>
      <p:font typeface="Calibri Light" panose="020F0302020204030204" pitchFamily="34" charset="0"/>
      <p:regular r:id="rId65"/>
      <p:italic r:id="rId66"/>
    </p:embeddedFont>
    <p:embeddedFont>
      <p:font typeface="Calibri" panose="020F0502020204030204" pitchFamily="34" charset="0"/>
      <p:regular r:id="rId67"/>
      <p:bold r:id="rId68"/>
      <p:italic r:id="rId69"/>
      <p:boldItalic r:id="rId70"/>
    </p:embeddedFont>
  </p:embeddedFontLst>
  <p:custDataLst>
    <p:tags r:id="rId7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9FA0"/>
    <a:srgbClr val="706F6F"/>
    <a:srgbClr val="FF0000"/>
    <a:srgbClr val="CFDEED"/>
    <a:srgbClr val="00FF00"/>
    <a:srgbClr val="6D6B6B"/>
    <a:srgbClr val="0000FF"/>
    <a:srgbClr val="666363"/>
    <a:srgbClr val="B0C2E5"/>
    <a:srgbClr val="4CB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0" autoAdjust="0"/>
    <p:restoredTop sz="96265" autoAdjust="0"/>
  </p:normalViewPr>
  <p:slideViewPr>
    <p:cSldViewPr snapToGrid="0">
      <p:cViewPr>
        <p:scale>
          <a:sx n="100" d="100"/>
          <a:sy n="100" d="100"/>
        </p:scale>
        <p:origin x="588" y="15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34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slide" Target="slides/slide54.xml"/><Relationship Id="rId68" Type="http://schemas.openxmlformats.org/officeDocument/2006/relationships/font" Target="fonts/font4.fntdata"/><Relationship Id="rId7" Type="http://schemas.openxmlformats.org/officeDocument/2006/relationships/slideMaster" Target="slideMasters/slideMaster7.xml"/><Relationship Id="rId71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font" Target="fonts/font2.fntdata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61" Type="http://schemas.openxmlformats.org/officeDocument/2006/relationships/slide" Target="slides/slide52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font" Target="fonts/font1.fntdata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5.fnt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font" Target="fonts/font3.fntdata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font" Target="fonts/font6.fntdata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4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1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2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28</c:f>
              <c:numCache>
                <c:formatCode>m/d/yyyy</c:formatCode>
                <c:ptCount val="17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1:$B$228</c:f>
              <c:numCache>
                <c:formatCode>General</c:formatCode>
                <c:ptCount val="178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3</c:v>
                </c:pt>
                <c:pt idx="6">
                  <c:v>7052</c:v>
                </c:pt>
                <c:pt idx="7">
                  <c:v>5281</c:v>
                </c:pt>
                <c:pt idx="8">
                  <c:v>4819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5</c:v>
                </c:pt>
                <c:pt idx="13">
                  <c:v>3715</c:v>
                </c:pt>
                <c:pt idx="14">
                  <c:v>3263</c:v>
                </c:pt>
                <c:pt idx="15">
                  <c:v>3217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5</c:v>
                </c:pt>
                <c:pt idx="20">
                  <c:v>2951</c:v>
                </c:pt>
                <c:pt idx="21">
                  <c:v>2628</c:v>
                </c:pt>
                <c:pt idx="22">
                  <c:v>2601</c:v>
                </c:pt>
                <c:pt idx="23">
                  <c:v>1308</c:v>
                </c:pt>
                <c:pt idx="24">
                  <c:v>825</c:v>
                </c:pt>
                <c:pt idx="25">
                  <c:v>2579</c:v>
                </c:pt>
                <c:pt idx="26">
                  <c:v>3238</c:v>
                </c:pt>
                <c:pt idx="27">
                  <c:v>2488</c:v>
                </c:pt>
                <c:pt idx="28">
                  <c:v>2228</c:v>
                </c:pt>
                <c:pt idx="29">
                  <c:v>2165</c:v>
                </c:pt>
                <c:pt idx="30">
                  <c:v>1171</c:v>
                </c:pt>
                <c:pt idx="31">
                  <c:v>508</c:v>
                </c:pt>
                <c:pt idx="32">
                  <c:v>2219</c:v>
                </c:pt>
                <c:pt idx="33">
                  <c:v>2415</c:v>
                </c:pt>
                <c:pt idx="34">
                  <c:v>1873</c:v>
                </c:pt>
                <c:pt idx="35">
                  <c:v>1572</c:v>
                </c:pt>
                <c:pt idx="36">
                  <c:v>1638</c:v>
                </c:pt>
                <c:pt idx="37">
                  <c:v>725</c:v>
                </c:pt>
                <c:pt idx="38">
                  <c:v>383</c:v>
                </c:pt>
                <c:pt idx="39">
                  <c:v>1544</c:v>
                </c:pt>
                <c:pt idx="40">
                  <c:v>1690</c:v>
                </c:pt>
                <c:pt idx="41">
                  <c:v>1264</c:v>
                </c:pt>
                <c:pt idx="42">
                  <c:v>1223</c:v>
                </c:pt>
                <c:pt idx="43">
                  <c:v>1051</c:v>
                </c:pt>
                <c:pt idx="44">
                  <c:v>597</c:v>
                </c:pt>
                <c:pt idx="45">
                  <c:v>256</c:v>
                </c:pt>
                <c:pt idx="46">
                  <c:v>1128</c:v>
                </c:pt>
                <c:pt idx="47">
                  <c:v>1199</c:v>
                </c:pt>
                <c:pt idx="48">
                  <c:v>778</c:v>
                </c:pt>
                <c:pt idx="49">
                  <c:v>678</c:v>
                </c:pt>
                <c:pt idx="50">
                  <c:v>671</c:v>
                </c:pt>
                <c:pt idx="51">
                  <c:v>333</c:v>
                </c:pt>
                <c:pt idx="52">
                  <c:v>196</c:v>
                </c:pt>
                <c:pt idx="53">
                  <c:v>696</c:v>
                </c:pt>
                <c:pt idx="54">
                  <c:v>658</c:v>
                </c:pt>
                <c:pt idx="55">
                  <c:v>538</c:v>
                </c:pt>
                <c:pt idx="56">
                  <c:v>505</c:v>
                </c:pt>
                <c:pt idx="57">
                  <c:v>453</c:v>
                </c:pt>
                <c:pt idx="58">
                  <c:v>222</c:v>
                </c:pt>
                <c:pt idx="59">
                  <c:v>113</c:v>
                </c:pt>
                <c:pt idx="60">
                  <c:v>512</c:v>
                </c:pt>
                <c:pt idx="61">
                  <c:v>478</c:v>
                </c:pt>
                <c:pt idx="62">
                  <c:v>350</c:v>
                </c:pt>
                <c:pt idx="63">
                  <c:v>427</c:v>
                </c:pt>
                <c:pt idx="64">
                  <c:v>323</c:v>
                </c:pt>
                <c:pt idx="65">
                  <c:v>152</c:v>
                </c:pt>
                <c:pt idx="66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64-4BCC-B049-184C95C8BC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10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8.984080492501</c:v>
                </c:pt>
                <c:pt idx="1">
                  <c:v>16.160335389114</c:v>
                </c:pt>
                <c:pt idx="2">
                  <c:v>15.686436748322</c:v>
                </c:pt>
                <c:pt idx="3">
                  <c:v>14.503275392887</c:v>
                </c:pt>
                <c:pt idx="4">
                  <c:v>12.181896010598001</c:v>
                </c:pt>
                <c:pt idx="5">
                  <c:v>10.784714887030001</c:v>
                </c:pt>
                <c:pt idx="6">
                  <c:v>10.587026808725</c:v>
                </c:pt>
                <c:pt idx="7">
                  <c:v>10.111723307297</c:v>
                </c:pt>
                <c:pt idx="8">
                  <c:v>9.7918737239959999</c:v>
                </c:pt>
                <c:pt idx="9">
                  <c:v>9.5628624324859999</c:v>
                </c:pt>
                <c:pt idx="10">
                  <c:v>9.4534800937310006</c:v>
                </c:pt>
                <c:pt idx="11">
                  <c:v>6.9384984374069996</c:v>
                </c:pt>
                <c:pt idx="12">
                  <c:v>6.4851862624100001</c:v>
                </c:pt>
                <c:pt idx="13">
                  <c:v>4.5388278567829996</c:v>
                </c:pt>
                <c:pt idx="14">
                  <c:v>2.045610290782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64.925277961345998</c:v>
                </c:pt>
                <c:pt idx="2">
                  <c:v>58.493809828994003</c:v>
                </c:pt>
                <c:pt idx="3">
                  <c:v>55.015129160519002</c:v>
                </c:pt>
                <c:pt idx="4">
                  <c:v>47.922422055589998</c:v>
                </c:pt>
                <c:pt idx="5">
                  <c:v>45.294314578860998</c:v>
                </c:pt>
                <c:pt idx="6">
                  <c:v>39.823185058340002</c:v>
                </c:pt>
                <c:pt idx="7">
                  <c:v>38.237575519210999</c:v>
                </c:pt>
                <c:pt idx="8">
                  <c:v>37.044424814065003</c:v>
                </c:pt>
                <c:pt idx="9">
                  <c:v>35.381994496133998</c:v>
                </c:pt>
                <c:pt idx="10">
                  <c:v>34.484847637553997</c:v>
                </c:pt>
                <c:pt idx="11">
                  <c:v>34.146501625242003</c:v>
                </c:pt>
                <c:pt idx="12">
                  <c:v>32.039457076836001</c:v>
                </c:pt>
                <c:pt idx="13">
                  <c:v>31.730769230768999</c:v>
                </c:pt>
                <c:pt idx="14">
                  <c:v>30.360799265691998</c:v>
                </c:pt>
                <c:pt idx="15">
                  <c:v>30.246370435547</c:v>
                </c:pt>
                <c:pt idx="16">
                  <c:v>28.992632089800999</c:v>
                </c:pt>
                <c:pt idx="17">
                  <c:v>28.289114752772999</c:v>
                </c:pt>
                <c:pt idx="18">
                  <c:v>27.287319422149999</c:v>
                </c:pt>
                <c:pt idx="19">
                  <c:v>27.11624002044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15.85127201565501</c:v>
                </c:pt>
                <c:pt idx="1">
                  <c:v>195.935213847634</c:v>
                </c:pt>
                <c:pt idx="2">
                  <c:v>437.94061098055897</c:v>
                </c:pt>
                <c:pt idx="3">
                  <c:v>376.77027849325202</c:v>
                </c:pt>
                <c:pt idx="4">
                  <c:v>389.72204995207699</c:v>
                </c:pt>
                <c:pt idx="5">
                  <c:v>376.13974280706498</c:v>
                </c:pt>
                <c:pt idx="6">
                  <c:v>248.61045529278499</c:v>
                </c:pt>
                <c:pt idx="7">
                  <c:v>220.68543585373499</c:v>
                </c:pt>
                <c:pt idx="8">
                  <c:v>255.32157410309699</c:v>
                </c:pt>
                <c:pt idx="9">
                  <c:v>254.22618267592699</c:v>
                </c:pt>
                <c:pt idx="10">
                  <c:v>338.32431601168702</c:v>
                </c:pt>
                <c:pt idx="11">
                  <c:v>191.08907640279699</c:v>
                </c:pt>
                <c:pt idx="12">
                  <c:v>437.87258005009801</c:v>
                </c:pt>
                <c:pt idx="13">
                  <c:v>365.38461538461502</c:v>
                </c:pt>
                <c:pt idx="14">
                  <c:v>302.19586245851798</c:v>
                </c:pt>
                <c:pt idx="15">
                  <c:v>376.70479542454899</c:v>
                </c:pt>
                <c:pt idx="16">
                  <c:v>312.61620688133797</c:v>
                </c:pt>
                <c:pt idx="17">
                  <c:v>145.486875871405</c:v>
                </c:pt>
                <c:pt idx="18">
                  <c:v>274.47833065810499</c:v>
                </c:pt>
                <c:pt idx="19">
                  <c:v>410.393863386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159.81735159817299</c:v>
                </c:pt>
                <c:pt idx="1">
                  <c:v>91.591017124041997</c:v>
                </c:pt>
                <c:pt idx="2">
                  <c:v>179.550564083783</c:v>
                </c:pt>
                <c:pt idx="3">
                  <c:v>110.86382088407601</c:v>
                </c:pt>
                <c:pt idx="4">
                  <c:v>176.89011670519201</c:v>
                </c:pt>
                <c:pt idx="5">
                  <c:v>192.99316646645201</c:v>
                </c:pt>
                <c:pt idx="6">
                  <c:v>161.56835080812601</c:v>
                </c:pt>
                <c:pt idx="7">
                  <c:v>72.105142407656004</c:v>
                </c:pt>
                <c:pt idx="8">
                  <c:v>98.595161428205003</c:v>
                </c:pt>
                <c:pt idx="9">
                  <c:v>141.52797798453599</c:v>
                </c:pt>
                <c:pt idx="10">
                  <c:v>129.551184368111</c:v>
                </c:pt>
                <c:pt idx="11">
                  <c:v>78.142955642380997</c:v>
                </c:pt>
                <c:pt idx="12">
                  <c:v>124.274257752577</c:v>
                </c:pt>
                <c:pt idx="13">
                  <c:v>122.115384615384</c:v>
                </c:pt>
                <c:pt idx="14">
                  <c:v>114.382546070747</c:v>
                </c:pt>
                <c:pt idx="15">
                  <c:v>121.90203842205599</c:v>
                </c:pt>
                <c:pt idx="16">
                  <c:v>153.47186769275299</c:v>
                </c:pt>
                <c:pt idx="17">
                  <c:v>78.805391097010997</c:v>
                </c:pt>
                <c:pt idx="18">
                  <c:v>101.92616372391601</c:v>
                </c:pt>
                <c:pt idx="19">
                  <c:v>170.519432436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30.143879053481999</c:v>
                </c:pt>
                <c:pt idx="2">
                  <c:v>69.683929970193006</c:v>
                </c:pt>
                <c:pt idx="3">
                  <c:v>90.024756808122007</c:v>
                </c:pt>
                <c:pt idx="4">
                  <c:v>38.056041044144997</c:v>
                </c:pt>
                <c:pt idx="5">
                  <c:v>23.631816302013998</c:v>
                </c:pt>
                <c:pt idx="6">
                  <c:v>52.907945863224001</c:v>
                </c:pt>
                <c:pt idx="7">
                  <c:v>33.867566888444003</c:v>
                </c:pt>
                <c:pt idx="8">
                  <c:v>39.893995953607998</c:v>
                </c:pt>
                <c:pt idx="9">
                  <c:v>28.829773293146001</c:v>
                </c:pt>
                <c:pt idx="10">
                  <c:v>44.737099637908997</c:v>
                </c:pt>
                <c:pt idx="11">
                  <c:v>40.05647306038</c:v>
                </c:pt>
                <c:pt idx="12">
                  <c:v>49.515524573291998</c:v>
                </c:pt>
                <c:pt idx="13">
                  <c:v>20.192307692307001</c:v>
                </c:pt>
                <c:pt idx="14">
                  <c:v>52.248817340957999</c:v>
                </c:pt>
                <c:pt idx="15">
                  <c:v>32.079483795277</c:v>
                </c:pt>
                <c:pt idx="16">
                  <c:v>46.640321187940998</c:v>
                </c:pt>
                <c:pt idx="17">
                  <c:v>74.764088989472</c:v>
                </c:pt>
                <c:pt idx="18">
                  <c:v>41.733547351524003</c:v>
                </c:pt>
                <c:pt idx="19">
                  <c:v>52.14661542392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64.925277961345998</c:v>
                </c:pt>
                <c:pt idx="2">
                  <c:v>58.493809828994003</c:v>
                </c:pt>
                <c:pt idx="3">
                  <c:v>55.015129160519002</c:v>
                </c:pt>
                <c:pt idx="4">
                  <c:v>47.922422055589998</c:v>
                </c:pt>
                <c:pt idx="5">
                  <c:v>45.294314578860998</c:v>
                </c:pt>
                <c:pt idx="6">
                  <c:v>39.823185058340002</c:v>
                </c:pt>
                <c:pt idx="7">
                  <c:v>38.237575519210999</c:v>
                </c:pt>
                <c:pt idx="8">
                  <c:v>37.044424814065003</c:v>
                </c:pt>
                <c:pt idx="9">
                  <c:v>35.381994496133998</c:v>
                </c:pt>
                <c:pt idx="10">
                  <c:v>34.484847637553997</c:v>
                </c:pt>
                <c:pt idx="11">
                  <c:v>34.146501625242003</c:v>
                </c:pt>
                <c:pt idx="12">
                  <c:v>32.039457076836001</c:v>
                </c:pt>
                <c:pt idx="13">
                  <c:v>31.730769230768999</c:v>
                </c:pt>
                <c:pt idx="14">
                  <c:v>30.360799265691998</c:v>
                </c:pt>
                <c:pt idx="15">
                  <c:v>30.246370435547</c:v>
                </c:pt>
                <c:pt idx="16">
                  <c:v>28.992632089800999</c:v>
                </c:pt>
                <c:pt idx="17">
                  <c:v>28.289114752772999</c:v>
                </c:pt>
                <c:pt idx="18">
                  <c:v>27.287319422149999</c:v>
                </c:pt>
                <c:pt idx="19">
                  <c:v>27.11624002044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35-4A4A-9BB8-7E2A9E5151F3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35-4A4A-9BB8-7E2A9E5151F3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35-4A4A-9BB8-7E2A9E5151F3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35-4A4A-9BB8-7E2A9E5151F3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35-4A4A-9BB8-7E2A9E5151F3}"/>
              </c:ext>
            </c:extLst>
          </c:dPt>
          <c:dPt>
            <c:idx val="1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35-4A4A-9BB8-7E2A9E5151F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České Budějovice</c:v>
                </c:pt>
                <c:pt idx="3">
                  <c:v>Šumperk</c:v>
                </c:pt>
                <c:pt idx="4">
                  <c:v>Vsetín</c:v>
                </c:pt>
                <c:pt idx="5">
                  <c:v>Prachatice</c:v>
                </c:pt>
                <c:pt idx="6">
                  <c:v>Opava</c:v>
                </c:pt>
                <c:pt idx="7">
                  <c:v>Jablonec nad Nisou</c:v>
                </c:pt>
                <c:pt idx="8">
                  <c:v>Liberec</c:v>
                </c:pt>
                <c:pt idx="9">
                  <c:v>Kutná Hora</c:v>
                </c:pt>
                <c:pt idx="10">
                  <c:v>Frýdek-Místek</c:v>
                </c:pt>
                <c:pt idx="11">
                  <c:v>Praha-západ</c:v>
                </c:pt>
                <c:pt idx="12">
                  <c:v>Česká Lípa</c:v>
                </c:pt>
                <c:pt idx="13">
                  <c:v>Svitavy</c:v>
                </c:pt>
                <c:pt idx="14">
                  <c:v>Uherské Hradiště</c:v>
                </c:pt>
                <c:pt idx="15">
                  <c:v>Blansko</c:v>
                </c:pt>
                <c:pt idx="16">
                  <c:v>Ostrava-město</c:v>
                </c:pt>
                <c:pt idx="17">
                  <c:v>Rokycany</c:v>
                </c:pt>
                <c:pt idx="18">
                  <c:v>Chomutov</c:v>
                </c:pt>
                <c:pt idx="19">
                  <c:v>Zlín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86.431833007175001</c:v>
                </c:pt>
                <c:pt idx="1">
                  <c:v>64.925277961345998</c:v>
                </c:pt>
                <c:pt idx="2">
                  <c:v>58.493809828994003</c:v>
                </c:pt>
                <c:pt idx="3">
                  <c:v>55.015129160519002</c:v>
                </c:pt>
                <c:pt idx="4">
                  <c:v>47.922422055589998</c:v>
                </c:pt>
                <c:pt idx="5">
                  <c:v>45.294314578860998</c:v>
                </c:pt>
                <c:pt idx="6">
                  <c:v>39.823185058340002</c:v>
                </c:pt>
                <c:pt idx="7">
                  <c:v>38.237575519210999</c:v>
                </c:pt>
                <c:pt idx="8">
                  <c:v>37.044424814065003</c:v>
                </c:pt>
                <c:pt idx="9">
                  <c:v>35.381994496133998</c:v>
                </c:pt>
                <c:pt idx="10">
                  <c:v>34.484847637553997</c:v>
                </c:pt>
                <c:pt idx="11">
                  <c:v>34.146501625242003</c:v>
                </c:pt>
                <c:pt idx="12">
                  <c:v>32.039457076836001</c:v>
                </c:pt>
                <c:pt idx="13">
                  <c:v>31.730769230768999</c:v>
                </c:pt>
                <c:pt idx="14">
                  <c:v>30.360799265691998</c:v>
                </c:pt>
                <c:pt idx="15">
                  <c:v>30.246370435547</c:v>
                </c:pt>
                <c:pt idx="16">
                  <c:v>28.992632089800999</c:v>
                </c:pt>
                <c:pt idx="17">
                  <c:v>28.289114752772999</c:v>
                </c:pt>
                <c:pt idx="18">
                  <c:v>27.287319422149999</c:v>
                </c:pt>
                <c:pt idx="19">
                  <c:v>27.11624002044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9C0-46FD-933E-FB36B350A472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9C0-46FD-933E-FB36B350A472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9C0-46FD-933E-FB36B350A472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1.0392156862740001</c:v>
                </c:pt>
                <c:pt idx="1">
                  <c:v>2</c:v>
                </c:pt>
                <c:pt idx="2">
                  <c:v>0.858208955223</c:v>
                </c:pt>
                <c:pt idx="3">
                  <c:v>0.68041237113399999</c:v>
                </c:pt>
                <c:pt idx="4">
                  <c:v>1.283018867924</c:v>
                </c:pt>
                <c:pt idx="5">
                  <c:v>2.0909090909089998</c:v>
                </c:pt>
                <c:pt idx="6">
                  <c:v>0.89743589743499996</c:v>
                </c:pt>
                <c:pt idx="7">
                  <c:v>1.0606060606059999</c:v>
                </c:pt>
                <c:pt idx="8">
                  <c:v>0.94202898550699998</c:v>
                </c:pt>
                <c:pt idx="9">
                  <c:v>1</c:v>
                </c:pt>
                <c:pt idx="10">
                  <c:v>0.82222222222200003</c:v>
                </c:pt>
                <c:pt idx="11">
                  <c:v>0.88135593220300001</c:v>
                </c:pt>
                <c:pt idx="12">
                  <c:v>0.75</c:v>
                </c:pt>
                <c:pt idx="13">
                  <c:v>1.32</c:v>
                </c:pt>
                <c:pt idx="14">
                  <c:v>0.55844155844099996</c:v>
                </c:pt>
                <c:pt idx="15">
                  <c:v>0.94285714285699995</c:v>
                </c:pt>
                <c:pt idx="16">
                  <c:v>0.71317829457299997</c:v>
                </c:pt>
                <c:pt idx="17">
                  <c:v>0.51851851851800002</c:v>
                </c:pt>
                <c:pt idx="18">
                  <c:v>0.69387755102000004</c:v>
                </c:pt>
                <c:pt idx="19">
                  <c:v>0.712328767122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817-4605-BE04-B5F94FABE89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7.3510773129999998E-2</c:v>
                </c:pt>
                <c:pt idx="1">
                  <c:v>9.1324200913000003E-2</c:v>
                </c:pt>
                <c:pt idx="2">
                  <c:v>4.2714570857999998E-2</c:v>
                </c:pt>
                <c:pt idx="3">
                  <c:v>6.3758389260999998E-2</c:v>
                </c:pt>
                <c:pt idx="4">
                  <c:v>3.7376048816999997E-2</c:v>
                </c:pt>
                <c:pt idx="5">
                  <c:v>4.207920792E-2</c:v>
                </c:pt>
                <c:pt idx="6">
                  <c:v>2.1578947368E-2</c:v>
                </c:pt>
                <c:pt idx="7">
                  <c:v>2.841781874E-2</c:v>
                </c:pt>
                <c:pt idx="8">
                  <c:v>2.7066215562999998E-2</c:v>
                </c:pt>
                <c:pt idx="9">
                  <c:v>2.0735155512999998E-2</c:v>
                </c:pt>
                <c:pt idx="10">
                  <c:v>1.8781493356999999E-2</c:v>
                </c:pt>
                <c:pt idx="11">
                  <c:v>1.1403508771E-2</c:v>
                </c:pt>
                <c:pt idx="12">
                  <c:v>2.9366306027000001E-2</c:v>
                </c:pt>
                <c:pt idx="13">
                  <c:v>2.9940119760000002E-2</c:v>
                </c:pt>
                <c:pt idx="14">
                  <c:v>1.6083737553999999E-2</c:v>
                </c:pt>
                <c:pt idx="15">
                  <c:v>2.7115858667999999E-2</c:v>
                </c:pt>
                <c:pt idx="16">
                  <c:v>2.0044543429E-2</c:v>
                </c:pt>
                <c:pt idx="17">
                  <c:v>3.3254156769000003E-2</c:v>
                </c:pt>
                <c:pt idx="18">
                  <c:v>1.8805309733999999E-2</c:v>
                </c:pt>
                <c:pt idx="19">
                  <c:v>1.0471204188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Prachatice</c:v>
                </c:pt>
                <c:pt idx="2">
                  <c:v>Klatovy</c:v>
                </c:pt>
                <c:pt idx="3">
                  <c:v>Domažlice</c:v>
                </c:pt>
                <c:pt idx="4">
                  <c:v>Semily</c:v>
                </c:pt>
                <c:pt idx="5">
                  <c:v>Svitavy</c:v>
                </c:pt>
                <c:pt idx="6">
                  <c:v>Vsetín</c:v>
                </c:pt>
                <c:pt idx="7">
                  <c:v>Kolín</c:v>
                </c:pt>
                <c:pt idx="8">
                  <c:v>Beroun</c:v>
                </c:pt>
                <c:pt idx="9">
                  <c:v>Hradec Králové</c:v>
                </c:pt>
                <c:pt idx="10">
                  <c:v>Jablonec nad Nisou</c:v>
                </c:pt>
                <c:pt idx="11">
                  <c:v>Ústí nad Orlicí</c:v>
                </c:pt>
                <c:pt idx="12">
                  <c:v>Český Krumlov</c:v>
                </c:pt>
                <c:pt idx="13">
                  <c:v>Kutná Hora</c:v>
                </c:pt>
                <c:pt idx="14">
                  <c:v>Tábor</c:v>
                </c:pt>
                <c:pt idx="15">
                  <c:v>Trutnov</c:v>
                </c:pt>
                <c:pt idx="16">
                  <c:v>Mladá Boleslav</c:v>
                </c:pt>
                <c:pt idx="17">
                  <c:v>Blansko</c:v>
                </c:pt>
                <c:pt idx="18">
                  <c:v>Praha-východ</c:v>
                </c:pt>
                <c:pt idx="19">
                  <c:v>Liberec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2.5</c:v>
                </c:pt>
                <c:pt idx="1">
                  <c:v>2.0909090909089998</c:v>
                </c:pt>
                <c:pt idx="2">
                  <c:v>2</c:v>
                </c:pt>
                <c:pt idx="3">
                  <c:v>2</c:v>
                </c:pt>
                <c:pt idx="4">
                  <c:v>1.7777777777770001</c:v>
                </c:pt>
                <c:pt idx="5">
                  <c:v>1.32</c:v>
                </c:pt>
                <c:pt idx="6">
                  <c:v>1.283018867924</c:v>
                </c:pt>
                <c:pt idx="7">
                  <c:v>1.2222222222220001</c:v>
                </c:pt>
                <c:pt idx="8">
                  <c:v>1.1304347826079999</c:v>
                </c:pt>
                <c:pt idx="9">
                  <c:v>1.1000000000000001</c:v>
                </c:pt>
                <c:pt idx="10">
                  <c:v>1.0606060606059999</c:v>
                </c:pt>
                <c:pt idx="11">
                  <c:v>1.0434782608690001</c:v>
                </c:pt>
                <c:pt idx="12">
                  <c:v>1.039215686274000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0.95652173913000005</c:v>
                </c:pt>
                <c:pt idx="17">
                  <c:v>0.94285714285699995</c:v>
                </c:pt>
                <c:pt idx="18">
                  <c:v>0.94285714285699995</c:v>
                </c:pt>
                <c:pt idx="19">
                  <c:v>0.942028985506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Prachatice</c:v>
                </c:pt>
                <c:pt idx="2">
                  <c:v>Klatovy</c:v>
                </c:pt>
                <c:pt idx="3">
                  <c:v>Domažlice</c:v>
                </c:pt>
                <c:pt idx="4">
                  <c:v>Semily</c:v>
                </c:pt>
                <c:pt idx="5">
                  <c:v>Svitavy</c:v>
                </c:pt>
                <c:pt idx="6">
                  <c:v>Vsetín</c:v>
                </c:pt>
                <c:pt idx="7">
                  <c:v>Kolín</c:v>
                </c:pt>
                <c:pt idx="8">
                  <c:v>Beroun</c:v>
                </c:pt>
                <c:pt idx="9">
                  <c:v>Hradec Králové</c:v>
                </c:pt>
                <c:pt idx="10">
                  <c:v>Jablonec nad Nisou</c:v>
                </c:pt>
                <c:pt idx="11">
                  <c:v>Ústí nad Orlicí</c:v>
                </c:pt>
                <c:pt idx="12">
                  <c:v>Český Krumlov</c:v>
                </c:pt>
                <c:pt idx="13">
                  <c:v>Kutná Hora</c:v>
                </c:pt>
                <c:pt idx="14">
                  <c:v>Tábor</c:v>
                </c:pt>
                <c:pt idx="15">
                  <c:v>Trutnov</c:v>
                </c:pt>
                <c:pt idx="16">
                  <c:v>Mladá Boleslav</c:v>
                </c:pt>
                <c:pt idx="17">
                  <c:v>Blansko</c:v>
                </c:pt>
                <c:pt idx="18">
                  <c:v>Praha-východ</c:v>
                </c:pt>
                <c:pt idx="19">
                  <c:v>Liberec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5.4684253122469997</c:v>
                </c:pt>
                <c:pt idx="1">
                  <c:v>45.294314578860998</c:v>
                </c:pt>
                <c:pt idx="2">
                  <c:v>64.925277961345998</c:v>
                </c:pt>
                <c:pt idx="3">
                  <c:v>18.093652746616002</c:v>
                </c:pt>
                <c:pt idx="4">
                  <c:v>22.075055187636998</c:v>
                </c:pt>
                <c:pt idx="5">
                  <c:v>31.730769230768999</c:v>
                </c:pt>
                <c:pt idx="6">
                  <c:v>47.922422055589998</c:v>
                </c:pt>
                <c:pt idx="7">
                  <c:v>10.583843282146001</c:v>
                </c:pt>
                <c:pt idx="8">
                  <c:v>26.970115037913001</c:v>
                </c:pt>
                <c:pt idx="9">
                  <c:v>13.379146775321001</c:v>
                </c:pt>
                <c:pt idx="10">
                  <c:v>38.237575519210999</c:v>
                </c:pt>
                <c:pt idx="11">
                  <c:v>17.389918194926</c:v>
                </c:pt>
                <c:pt idx="12">
                  <c:v>86.431833007175001</c:v>
                </c:pt>
                <c:pt idx="13">
                  <c:v>35.381994496133998</c:v>
                </c:pt>
                <c:pt idx="14">
                  <c:v>13.66506915501</c:v>
                </c:pt>
                <c:pt idx="15">
                  <c:v>3.4067487693120002</c:v>
                </c:pt>
                <c:pt idx="16">
                  <c:v>16.788510553868001</c:v>
                </c:pt>
                <c:pt idx="17">
                  <c:v>30.246370435547</c:v>
                </c:pt>
                <c:pt idx="18">
                  <c:v>17.465954620274001</c:v>
                </c:pt>
                <c:pt idx="19">
                  <c:v>37.04442481406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Cheb</c:v>
                </c:pt>
                <c:pt idx="1">
                  <c:v>Nymburk</c:v>
                </c:pt>
                <c:pt idx="2">
                  <c:v>Rokycany</c:v>
                </c:pt>
                <c:pt idx="3">
                  <c:v>Náchod</c:v>
                </c:pt>
                <c:pt idx="4">
                  <c:v>Břeclav</c:v>
                </c:pt>
                <c:pt idx="5">
                  <c:v>Česká Lípa</c:v>
                </c:pt>
                <c:pt idx="6">
                  <c:v>Prostějov</c:v>
                </c:pt>
                <c:pt idx="7">
                  <c:v>Benešov</c:v>
                </c:pt>
                <c:pt idx="8">
                  <c:v>Plzeň-město</c:v>
                </c:pt>
                <c:pt idx="9">
                  <c:v>Hradec Králové</c:v>
                </c:pt>
                <c:pt idx="10">
                  <c:v>Přerov</c:v>
                </c:pt>
                <c:pt idx="11">
                  <c:v>Šumperk</c:v>
                </c:pt>
                <c:pt idx="12">
                  <c:v>Rychnov nad Kněžnou</c:v>
                </c:pt>
                <c:pt idx="13">
                  <c:v>Kladno</c:v>
                </c:pt>
                <c:pt idx="14">
                  <c:v>Vyškov</c:v>
                </c:pt>
                <c:pt idx="15">
                  <c:v>Bruntál</c:v>
                </c:pt>
                <c:pt idx="16">
                  <c:v>Brno-venkov</c:v>
                </c:pt>
                <c:pt idx="17">
                  <c:v>Klatovy</c:v>
                </c:pt>
                <c:pt idx="18">
                  <c:v>Jindřichův Hradec</c:v>
                </c:pt>
                <c:pt idx="19">
                  <c:v>Uherské Hradiště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2.2547914309999999E-3</c:v>
                </c:pt>
                <c:pt idx="1">
                  <c:v>4.207920792E-2</c:v>
                </c:pt>
                <c:pt idx="2">
                  <c:v>9.1324200913000003E-2</c:v>
                </c:pt>
                <c:pt idx="3">
                  <c:v>3.3132530120000003E-2</c:v>
                </c:pt>
                <c:pt idx="4">
                  <c:v>1.9851116625000002E-2</c:v>
                </c:pt>
                <c:pt idx="5">
                  <c:v>2.9940119760000002E-2</c:v>
                </c:pt>
                <c:pt idx="6">
                  <c:v>3.7376048816999997E-2</c:v>
                </c:pt>
                <c:pt idx="7">
                  <c:v>6.815968841E-3</c:v>
                </c:pt>
                <c:pt idx="8">
                  <c:v>2.2222222222000002E-2</c:v>
                </c:pt>
                <c:pt idx="9">
                  <c:v>5.3120849929999998E-3</c:v>
                </c:pt>
                <c:pt idx="10">
                  <c:v>2.841781874E-2</c:v>
                </c:pt>
                <c:pt idx="11">
                  <c:v>1.4324082363E-2</c:v>
                </c:pt>
                <c:pt idx="12">
                  <c:v>7.3510773129999998E-2</c:v>
                </c:pt>
                <c:pt idx="13">
                  <c:v>2.0735155512999998E-2</c:v>
                </c:pt>
                <c:pt idx="14">
                  <c:v>7.601351351E-3</c:v>
                </c:pt>
                <c:pt idx="15">
                  <c:v>3.0712530710000001E-3</c:v>
                </c:pt>
                <c:pt idx="16">
                  <c:v>1.3651877133E-2</c:v>
                </c:pt>
                <c:pt idx="17">
                  <c:v>2.7115858667999999E-2</c:v>
                </c:pt>
                <c:pt idx="18">
                  <c:v>3.4329563809999998E-3</c:v>
                </c:pt>
                <c:pt idx="19">
                  <c:v>2.7066215562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>
                  <c:v>397.40267828346509</c:v>
                </c:pt>
                <c:pt idx="60">
                  <c:v>361.16719947626405</c:v>
                </c:pt>
                <c:pt idx="61">
                  <c:v>344.2510753053669</c:v>
                </c:pt>
                <c:pt idx="62">
                  <c:v>345.94362283158711</c:v>
                </c:pt>
                <c:pt idx="63">
                  <c:v>294.36300319274312</c:v>
                </c:pt>
                <c:pt idx="64">
                  <c:v>265.8702279861518</c:v>
                </c:pt>
                <c:pt idx="65">
                  <c:v>263.897147720779</c:v>
                </c:pt>
                <c:pt idx="66">
                  <c:v>254.88269570267795</c:v>
                </c:pt>
                <c:pt idx="67">
                  <c:v>264.06546736427055</c:v>
                </c:pt>
                <c:pt idx="68">
                  <c:v>264.47691538169425</c:v>
                </c:pt>
                <c:pt idx="69">
                  <c:v>255.68688955491515</c:v>
                </c:pt>
                <c:pt idx="70">
                  <c:v>278.58771216106618</c:v>
                </c:pt>
                <c:pt idx="71">
                  <c:v>273.65033595198179</c:v>
                </c:pt>
                <c:pt idx="72">
                  <c:v>242.44574426691605</c:v>
                </c:pt>
                <c:pt idx="73">
                  <c:v>223.57524201325629</c:v>
                </c:pt>
                <c:pt idx="74">
                  <c:v>208.59479374251154</c:v>
                </c:pt>
                <c:pt idx="75">
                  <c:v>202.39502020724075</c:v>
                </c:pt>
                <c:pt idx="76">
                  <c:v>200.97365432886795</c:v>
                </c:pt>
                <c:pt idx="77">
                  <c:v>196.04562921108865</c:v>
                </c:pt>
                <c:pt idx="78">
                  <c:v>184.45027599278433</c:v>
                </c:pt>
                <c:pt idx="79">
                  <c:v>177.30604223570006</c:v>
                </c:pt>
                <c:pt idx="80">
                  <c:v>171.36809925697162</c:v>
                </c:pt>
                <c:pt idx="81">
                  <c:v>165.60782701303981</c:v>
                </c:pt>
                <c:pt idx="82">
                  <c:v>163.42902273895521</c:v>
                </c:pt>
                <c:pt idx="83">
                  <c:v>163.35421400851456</c:v>
                </c:pt>
                <c:pt idx="84">
                  <c:v>156.22868243404045</c:v>
                </c:pt>
                <c:pt idx="85">
                  <c:v>150.83310275100689</c:v>
                </c:pt>
                <c:pt idx="86">
                  <c:v>146.50354747675294</c:v>
                </c:pt>
                <c:pt idx="87">
                  <c:v>142.76311095471931</c:v>
                </c:pt>
                <c:pt idx="88">
                  <c:v>138.68603514570262</c:v>
                </c:pt>
                <c:pt idx="89">
                  <c:v>137.40493563690609</c:v>
                </c:pt>
                <c:pt idx="90">
                  <c:v>134.44063969319444</c:v>
                </c:pt>
                <c:pt idx="91">
                  <c:v>131.07424682336415</c:v>
                </c:pt>
                <c:pt idx="92">
                  <c:v>123.37829867927992</c:v>
                </c:pt>
                <c:pt idx="93">
                  <c:v>117.62737752665318</c:v>
                </c:pt>
                <c:pt idx="94">
                  <c:v>111.493061630518</c:v>
                </c:pt>
                <c:pt idx="95">
                  <c:v>106.56503651273867</c:v>
                </c:pt>
                <c:pt idx="96">
                  <c:v>102.39444979067115</c:v>
                </c:pt>
                <c:pt idx="97">
                  <c:v>101.22556337753564</c:v>
                </c:pt>
                <c:pt idx="98">
                  <c:v>94.913576746603852</c:v>
                </c:pt>
                <c:pt idx="99">
                  <c:v>88.134035550417863</c:v>
                </c:pt>
                <c:pt idx="100">
                  <c:v>82.439220945621628</c:v>
                </c:pt>
                <c:pt idx="101">
                  <c:v>79.175690080147277</c:v>
                </c:pt>
                <c:pt idx="102">
                  <c:v>73.686599484062896</c:v>
                </c:pt>
                <c:pt idx="103">
                  <c:v>72.489659797012123</c:v>
                </c:pt>
                <c:pt idx="104">
                  <c:v>71.302071201266443</c:v>
                </c:pt>
                <c:pt idx="105">
                  <c:v>67.412017218351451</c:v>
                </c:pt>
                <c:pt idx="106">
                  <c:v>62.820631387555139</c:v>
                </c:pt>
                <c:pt idx="107">
                  <c:v>58.276001013284258</c:v>
                </c:pt>
                <c:pt idx="108">
                  <c:v>53.179656252013409</c:v>
                </c:pt>
                <c:pt idx="109">
                  <c:v>49.626241556081439</c:v>
                </c:pt>
                <c:pt idx="110">
                  <c:v>47.157553451539229</c:v>
                </c:pt>
                <c:pt idx="111">
                  <c:v>46.596487973234183</c:v>
                </c:pt>
                <c:pt idx="112">
                  <c:v>42.556816529437839</c:v>
                </c:pt>
                <c:pt idx="113">
                  <c:v>37.497876133387329</c:v>
                </c:pt>
                <c:pt idx="114">
                  <c:v>35.253614220167144</c:v>
                </c:pt>
                <c:pt idx="115">
                  <c:v>33.635875424387592</c:v>
                </c:pt>
                <c:pt idx="116">
                  <c:v>31.59733751987925</c:v>
                </c:pt>
                <c:pt idx="117">
                  <c:v>30.559366385014911</c:v>
                </c:pt>
                <c:pt idx="118">
                  <c:v>29.783225806692929</c:v>
                </c:pt>
                <c:pt idx="119">
                  <c:v>28.062625006557454</c:v>
                </c:pt>
                <c:pt idx="120">
                  <c:v>26.379428571642311</c:v>
                </c:pt>
                <c:pt idx="121">
                  <c:v>24.6214234062865</c:v>
                </c:pt>
                <c:pt idx="122">
                  <c:v>23.892038284489935</c:v>
                </c:pt>
                <c:pt idx="123">
                  <c:v>22.676396414829</c:v>
                </c:pt>
                <c:pt idx="124">
                  <c:v>22.02182002347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526.6354415254774</c:v>
                </c:pt>
                <c:pt idx="1">
                  <c:v>652.28417739137001</c:v>
                </c:pt>
                <c:pt idx="2">
                  <c:v>849.5592942105867</c:v>
                </c:pt>
                <c:pt idx="3">
                  <c:v>901.27112070530609</c:v>
                </c:pt>
                <c:pt idx="4">
                  <c:v>817.32192152345317</c:v>
                </c:pt>
                <c:pt idx="5">
                  <c:v>692.82844986648513</c:v>
                </c:pt>
                <c:pt idx="6">
                  <c:v>535.38244196447772</c:v>
                </c:pt>
                <c:pt idx="7">
                  <c:v>397.0808123817921</c:v>
                </c:pt>
                <c:pt idx="8">
                  <c:v>305.20980148159913</c:v>
                </c:pt>
                <c:pt idx="9">
                  <c:v>219.7752626025574</c:v>
                </c:pt>
                <c:pt idx="10">
                  <c:v>183.02685824248022</c:v>
                </c:pt>
                <c:pt idx="11">
                  <c:v>150.62444781121457</c:v>
                </c:pt>
                <c:pt idx="12">
                  <c:v>111.4554898705335</c:v>
                </c:pt>
                <c:pt idx="13">
                  <c:v>82.518872066041581</c:v>
                </c:pt>
                <c:pt idx="14">
                  <c:v>52.096914564360915</c:v>
                </c:pt>
                <c:pt idx="15">
                  <c:v>33.832737547077045</c:v>
                </c:pt>
                <c:pt idx="16">
                  <c:v>27.176215200416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600.85789396481152</c:v>
                </c:pt>
                <c:pt idx="1">
                  <c:v>739.51740795669105</c:v>
                </c:pt>
                <c:pt idx="2">
                  <c:v>930.287911238932</c:v>
                </c:pt>
                <c:pt idx="3">
                  <c:v>965.91158449433078</c:v>
                </c:pt>
                <c:pt idx="4">
                  <c:v>864.69448845235422</c:v>
                </c:pt>
                <c:pt idx="5">
                  <c:v>712.82930646124805</c:v>
                </c:pt>
                <c:pt idx="6">
                  <c:v>522.13787903528987</c:v>
                </c:pt>
                <c:pt idx="7">
                  <c:v>382.48991683987538</c:v>
                </c:pt>
                <c:pt idx="8">
                  <c:v>293.9249578031459</c:v>
                </c:pt>
                <c:pt idx="9">
                  <c:v>222.75668714863116</c:v>
                </c:pt>
                <c:pt idx="10">
                  <c:v>184.76073820474858</c:v>
                </c:pt>
                <c:pt idx="11">
                  <c:v>156.80742300878083</c:v>
                </c:pt>
                <c:pt idx="12">
                  <c:v>114.18553647235478</c:v>
                </c:pt>
                <c:pt idx="13">
                  <c:v>86.074069563821453</c:v>
                </c:pt>
                <c:pt idx="14">
                  <c:v>52.822671996906507</c:v>
                </c:pt>
                <c:pt idx="15">
                  <c:v>35.544597399115979</c:v>
                </c:pt>
                <c:pt idx="16">
                  <c:v>25.106584369787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579.77698019565128</c:v>
                </c:pt>
                <c:pt idx="1">
                  <c:v>697.68577557757339</c:v>
                </c:pt>
                <c:pt idx="2">
                  <c:v>875.40483949652514</c:v>
                </c:pt>
                <c:pt idx="3">
                  <c:v>920.11150486763825</c:v>
                </c:pt>
                <c:pt idx="4">
                  <c:v>872.23308283168274</c:v>
                </c:pt>
                <c:pt idx="5">
                  <c:v>741.53657010261782</c:v>
                </c:pt>
                <c:pt idx="6">
                  <c:v>559.99126004830055</c:v>
                </c:pt>
                <c:pt idx="7">
                  <c:v>405.58209034874665</c:v>
                </c:pt>
                <c:pt idx="8">
                  <c:v>320.59914986852266</c:v>
                </c:pt>
                <c:pt idx="9">
                  <c:v>221.62020378788267</c:v>
                </c:pt>
                <c:pt idx="10">
                  <c:v>184.36464931195511</c:v>
                </c:pt>
                <c:pt idx="11">
                  <c:v>152.9491547268486</c:v>
                </c:pt>
                <c:pt idx="12">
                  <c:v>113.22667840048798</c:v>
                </c:pt>
                <c:pt idx="13">
                  <c:v>76.273195987878751</c:v>
                </c:pt>
                <c:pt idx="14">
                  <c:v>47.274277909318904</c:v>
                </c:pt>
                <c:pt idx="15">
                  <c:v>25.424398662626249</c:v>
                </c:pt>
                <c:pt idx="16">
                  <c:v>15.909128668098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351.50104940108781</c:v>
                </c:pt>
                <c:pt idx="1">
                  <c:v>416.82288506062577</c:v>
                </c:pt>
                <c:pt idx="2">
                  <c:v>524.89380370208619</c:v>
                </c:pt>
                <c:pt idx="3">
                  <c:v>579.62499855055114</c:v>
                </c:pt>
                <c:pt idx="4">
                  <c:v>526.43988265260782</c:v>
                </c:pt>
                <c:pt idx="5">
                  <c:v>468.3846180605214</c:v>
                </c:pt>
                <c:pt idx="6">
                  <c:v>367.19375074888211</c:v>
                </c:pt>
                <c:pt idx="7">
                  <c:v>283.3962716306109</c:v>
                </c:pt>
                <c:pt idx="8">
                  <c:v>208.79796226794329</c:v>
                </c:pt>
                <c:pt idx="9">
                  <c:v>156.61779768783899</c:v>
                </c:pt>
                <c:pt idx="10">
                  <c:v>120.36224629810725</c:v>
                </c:pt>
                <c:pt idx="11">
                  <c:v>99.567484413591615</c:v>
                </c:pt>
                <c:pt idx="12">
                  <c:v>74.675613310193711</c:v>
                </c:pt>
                <c:pt idx="13">
                  <c:v>48.083055361222037</c:v>
                </c:pt>
                <c:pt idx="14">
                  <c:v>25.664910578658709</c:v>
                </c:pt>
                <c:pt idx="15">
                  <c:v>15.847309242846492</c:v>
                </c:pt>
                <c:pt idx="16">
                  <c:v>9.8176013358122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383.24234122445563</c:v>
                </c:pt>
                <c:pt idx="1">
                  <c:v>444.9959351332846</c:v>
                </c:pt>
                <c:pt idx="2">
                  <c:v>532.76930175650784</c:v>
                </c:pt>
                <c:pt idx="3">
                  <c:v>557.17006639089527</c:v>
                </c:pt>
                <c:pt idx="4">
                  <c:v>489.63430076775649</c:v>
                </c:pt>
                <c:pt idx="5">
                  <c:v>439.56069372183333</c:v>
                </c:pt>
                <c:pt idx="6">
                  <c:v>340.80120084142146</c:v>
                </c:pt>
                <c:pt idx="7">
                  <c:v>252.10268674390863</c:v>
                </c:pt>
                <c:pt idx="8">
                  <c:v>181.90712213218728</c:v>
                </c:pt>
                <c:pt idx="9">
                  <c:v>144.66993629203196</c:v>
                </c:pt>
                <c:pt idx="10">
                  <c:v>98.181275708980934</c:v>
                </c:pt>
                <c:pt idx="11">
                  <c:v>80.256543394620451</c:v>
                </c:pt>
                <c:pt idx="12">
                  <c:v>54.699344417371002</c:v>
                </c:pt>
                <c:pt idx="13">
                  <c:v>37.237185840155313</c:v>
                </c:pt>
                <c:pt idx="14">
                  <c:v>28.216997965831975</c:v>
                </c:pt>
                <c:pt idx="15">
                  <c:v>16.883941405784707</c:v>
                </c:pt>
                <c:pt idx="16">
                  <c:v>10.523552520043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7.2 - 13.2</c:v>
                </c:pt>
                <c:pt idx="1">
                  <c:v>14.2 - 20.2</c:v>
                </c:pt>
                <c:pt idx="2">
                  <c:v>21.2 - 27.2</c:v>
                </c:pt>
                <c:pt idx="3">
                  <c:v>28.2 - 6.3</c:v>
                </c:pt>
                <c:pt idx="4">
                  <c:v>7.3 - 13.3</c:v>
                </c:pt>
                <c:pt idx="5">
                  <c:v>14.3 - 20.3</c:v>
                </c:pt>
                <c:pt idx="6">
                  <c:v>21.3 - 27.3</c:v>
                </c:pt>
                <c:pt idx="7">
                  <c:v>28.3 - 3.4</c:v>
                </c:pt>
                <c:pt idx="8">
                  <c:v>4.4 - 10.4</c:v>
                </c:pt>
                <c:pt idx="9">
                  <c:v>11.4 - 17.4</c:v>
                </c:pt>
                <c:pt idx="10">
                  <c:v>18.4 - 24.4</c:v>
                </c:pt>
                <c:pt idx="11">
                  <c:v>25.4 - 1.5</c:v>
                </c:pt>
                <c:pt idx="12">
                  <c:v>2.5 - 8.5</c:v>
                </c:pt>
                <c:pt idx="13">
                  <c:v>9.5 - 15.5</c:v>
                </c:pt>
                <c:pt idx="14">
                  <c:v>16.5 - 22.5</c:v>
                </c:pt>
                <c:pt idx="15">
                  <c:v>23.5 - 29.5</c:v>
                </c:pt>
                <c:pt idx="16">
                  <c:v>30.5 - 5.6</c:v>
                </c:pt>
              </c:strCache>
            </c:strRef>
          </c:cat>
          <c:val>
            <c:numRef>
              <c:f>List1!$B$7:$R$7</c:f>
              <c:numCache>
                <c:formatCode>###0</c:formatCode>
                <c:ptCount val="17"/>
                <c:pt idx="0">
                  <c:v>495.5719036193708</c:v>
                </c:pt>
                <c:pt idx="1">
                  <c:v>608.22609179765186</c:v>
                </c:pt>
                <c:pt idx="2">
                  <c:v>768.92837516610541</c:v>
                </c:pt>
                <c:pt idx="3">
                  <c:v>802.418140463962</c:v>
                </c:pt>
                <c:pt idx="4">
                  <c:v>725.89813822508154</c:v>
                </c:pt>
                <c:pt idx="5">
                  <c:v>615.23427370987065</c:v>
                </c:pt>
                <c:pt idx="6">
                  <c:v>467.65130688109076</c:v>
                </c:pt>
                <c:pt idx="7">
                  <c:v>343.9428797666032</c:v>
                </c:pt>
                <c:pt idx="8">
                  <c:v>264.23649081830052</c:v>
                </c:pt>
                <c:pt idx="9">
                  <c:v>202.20940877388864</c:v>
                </c:pt>
                <c:pt idx="10">
                  <c:v>163.29998279724944</c:v>
                </c:pt>
                <c:pt idx="11">
                  <c:v>137.28561153909297</c:v>
                </c:pt>
                <c:pt idx="12">
                  <c:v>102.29142319074671</c:v>
                </c:pt>
                <c:pt idx="13">
                  <c:v>72.4365682446943</c:v>
                </c:pt>
                <c:pt idx="14">
                  <c:v>47.113670935210095</c:v>
                </c:pt>
                <c:pt idx="15">
                  <c:v>30.5182961670758</c:v>
                </c:pt>
                <c:pt idx="16">
                  <c:v>21.98700271926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5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79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79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3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B9-4500-8CAA-233791850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73</c:v>
                </c:pt>
                <c:pt idx="1">
                  <c:v>917</c:v>
                </c:pt>
                <c:pt idx="2">
                  <c:v>853</c:v>
                </c:pt>
                <c:pt idx="3">
                  <c:v>747</c:v>
                </c:pt>
                <c:pt idx="4">
                  <c:v>713</c:v>
                </c:pt>
                <c:pt idx="5">
                  <c:v>532</c:v>
                </c:pt>
                <c:pt idx="6">
                  <c:v>294</c:v>
                </c:pt>
                <c:pt idx="7">
                  <c:v>586</c:v>
                </c:pt>
                <c:pt idx="8">
                  <c:v>736</c:v>
                </c:pt>
                <c:pt idx="9">
                  <c:v>752</c:v>
                </c:pt>
                <c:pt idx="10">
                  <c:v>640</c:v>
                </c:pt>
                <c:pt idx="11">
                  <c:v>854</c:v>
                </c:pt>
                <c:pt idx="12">
                  <c:v>372</c:v>
                </c:pt>
                <c:pt idx="13">
                  <c:v>220</c:v>
                </c:pt>
                <c:pt idx="14">
                  <c:v>663</c:v>
                </c:pt>
                <c:pt idx="15">
                  <c:v>766</c:v>
                </c:pt>
                <c:pt idx="16">
                  <c:v>673</c:v>
                </c:pt>
                <c:pt idx="17">
                  <c:v>601</c:v>
                </c:pt>
                <c:pt idx="18">
                  <c:v>526</c:v>
                </c:pt>
                <c:pt idx="19">
                  <c:v>352</c:v>
                </c:pt>
                <c:pt idx="20">
                  <c:v>193</c:v>
                </c:pt>
                <c:pt idx="21">
                  <c:v>462</c:v>
                </c:pt>
                <c:pt idx="22">
                  <c:v>618</c:v>
                </c:pt>
                <c:pt idx="23">
                  <c:v>486</c:v>
                </c:pt>
                <c:pt idx="24">
                  <c:v>482</c:v>
                </c:pt>
                <c:pt idx="25">
                  <c:v>439</c:v>
                </c:pt>
                <c:pt idx="26">
                  <c:v>267</c:v>
                </c:pt>
                <c:pt idx="27">
                  <c:v>132</c:v>
                </c:pt>
                <c:pt idx="28">
                  <c:v>427</c:v>
                </c:pt>
                <c:pt idx="29">
                  <c:v>466</c:v>
                </c:pt>
                <c:pt idx="30">
                  <c:v>428</c:v>
                </c:pt>
                <c:pt idx="31">
                  <c:v>360</c:v>
                </c:pt>
                <c:pt idx="32">
                  <c:v>216</c:v>
                </c:pt>
                <c:pt idx="33">
                  <c:v>151</c:v>
                </c:pt>
                <c:pt idx="34">
                  <c:v>150</c:v>
                </c:pt>
                <c:pt idx="35">
                  <c:v>129</c:v>
                </c:pt>
                <c:pt idx="36">
                  <c:v>304</c:v>
                </c:pt>
                <c:pt idx="37">
                  <c:v>307</c:v>
                </c:pt>
                <c:pt idx="38">
                  <c:v>278</c:v>
                </c:pt>
                <c:pt idx="39">
                  <c:v>274</c:v>
                </c:pt>
                <c:pt idx="40">
                  <c:v>131</c:v>
                </c:pt>
                <c:pt idx="41">
                  <c:v>81</c:v>
                </c:pt>
                <c:pt idx="42">
                  <c:v>215</c:v>
                </c:pt>
                <c:pt idx="43">
                  <c:v>245</c:v>
                </c:pt>
                <c:pt idx="44">
                  <c:v>233</c:v>
                </c:pt>
                <c:pt idx="45">
                  <c:v>195</c:v>
                </c:pt>
                <c:pt idx="46">
                  <c:v>193</c:v>
                </c:pt>
                <c:pt idx="47">
                  <c:v>89</c:v>
                </c:pt>
                <c:pt idx="48">
                  <c:v>64</c:v>
                </c:pt>
                <c:pt idx="49">
                  <c:v>170</c:v>
                </c:pt>
                <c:pt idx="50">
                  <c:v>169</c:v>
                </c:pt>
                <c:pt idx="51">
                  <c:v>145</c:v>
                </c:pt>
                <c:pt idx="52">
                  <c:v>148</c:v>
                </c:pt>
                <c:pt idx="53">
                  <c:v>100</c:v>
                </c:pt>
                <c:pt idx="54">
                  <c:v>53</c:v>
                </c:pt>
                <c:pt idx="55">
                  <c:v>48</c:v>
                </c:pt>
                <c:pt idx="56">
                  <c:v>137</c:v>
                </c:pt>
                <c:pt idx="57">
                  <c:v>145</c:v>
                </c:pt>
                <c:pt idx="58">
                  <c:v>108</c:v>
                </c:pt>
                <c:pt idx="59">
                  <c:v>91</c:v>
                </c:pt>
                <c:pt idx="60">
                  <c:v>100</c:v>
                </c:pt>
                <c:pt idx="61">
                  <c:v>65</c:v>
                </c:pt>
                <c:pt idx="62">
                  <c:v>38</c:v>
                </c:pt>
                <c:pt idx="63">
                  <c:v>88</c:v>
                </c:pt>
                <c:pt idx="64">
                  <c:v>93</c:v>
                </c:pt>
                <c:pt idx="65">
                  <c:v>84</c:v>
                </c:pt>
                <c:pt idx="66">
                  <c:v>79</c:v>
                </c:pt>
                <c:pt idx="67">
                  <c:v>59</c:v>
                </c:pt>
                <c:pt idx="68">
                  <c:v>32</c:v>
                </c:pt>
                <c:pt idx="69">
                  <c:v>22</c:v>
                </c:pt>
                <c:pt idx="70">
                  <c:v>84</c:v>
                </c:pt>
                <c:pt idx="71">
                  <c:v>58</c:v>
                </c:pt>
                <c:pt idx="72">
                  <c:v>38</c:v>
                </c:pt>
                <c:pt idx="73">
                  <c:v>50</c:v>
                </c:pt>
                <c:pt idx="74">
                  <c:v>45</c:v>
                </c:pt>
                <c:pt idx="75">
                  <c:v>25</c:v>
                </c:pt>
                <c:pt idx="76">
                  <c:v>11</c:v>
                </c:pt>
                <c:pt idx="77">
                  <c:v>46</c:v>
                </c:pt>
                <c:pt idx="78">
                  <c:v>53</c:v>
                </c:pt>
                <c:pt idx="79">
                  <c:v>45</c:v>
                </c:pt>
                <c:pt idx="80">
                  <c:v>43</c:v>
                </c:pt>
                <c:pt idx="81">
                  <c:v>30</c:v>
                </c:pt>
                <c:pt idx="82">
                  <c:v>16</c:v>
                </c:pt>
                <c:pt idx="83">
                  <c:v>9</c:v>
                </c:pt>
                <c:pt idx="84">
                  <c:v>28</c:v>
                </c:pt>
                <c:pt idx="85">
                  <c:v>34</c:v>
                </c:pt>
                <c:pt idx="86">
                  <c:v>29</c:v>
                </c:pt>
                <c:pt idx="87">
                  <c:v>21</c:v>
                </c:pt>
                <c:pt idx="88">
                  <c:v>17</c:v>
                </c:pt>
                <c:pt idx="89">
                  <c:v>8</c:v>
                </c:pt>
                <c:pt idx="90">
                  <c:v>7</c:v>
                </c:pt>
                <c:pt idx="91">
                  <c:v>25</c:v>
                </c:pt>
                <c:pt idx="92">
                  <c:v>13</c:v>
                </c:pt>
                <c:pt idx="93">
                  <c:v>11</c:v>
                </c:pt>
                <c:pt idx="94">
                  <c:v>17</c:v>
                </c:pt>
                <c:pt idx="95">
                  <c:v>13</c:v>
                </c:pt>
                <c:pt idx="96">
                  <c:v>5</c:v>
                </c:pt>
                <c:pt idx="9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93-4451-A58B-20FE9EA30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2</c:v>
                </c:pt>
                <c:pt idx="1">
                  <c:v>6364</c:v>
                </c:pt>
                <c:pt idx="2">
                  <c:v>6215</c:v>
                </c:pt>
                <c:pt idx="3">
                  <c:v>6312</c:v>
                </c:pt>
                <c:pt idx="4">
                  <c:v>6379</c:v>
                </c:pt>
                <c:pt idx="5">
                  <c:v>7053</c:v>
                </c:pt>
                <c:pt idx="6">
                  <c:v>6697</c:v>
                </c:pt>
                <c:pt idx="7">
                  <c:v>6223</c:v>
                </c:pt>
                <c:pt idx="8">
                  <c:v>5905</c:v>
                </c:pt>
                <c:pt idx="9">
                  <c:v>5266</c:v>
                </c:pt>
                <c:pt idx="10">
                  <c:v>5220</c:v>
                </c:pt>
                <c:pt idx="11">
                  <c:v>5515</c:v>
                </c:pt>
                <c:pt idx="12">
                  <c:v>5208</c:v>
                </c:pt>
                <c:pt idx="13">
                  <c:v>4906</c:v>
                </c:pt>
                <c:pt idx="14">
                  <c:v>4649</c:v>
                </c:pt>
                <c:pt idx="15">
                  <c:v>4402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2</c:v>
                </c:pt>
                <c:pt idx="29">
                  <c:v>2664</c:v>
                </c:pt>
                <c:pt idx="30">
                  <c:v>2452</c:v>
                </c:pt>
                <c:pt idx="31">
                  <c:v>2478</c:v>
                </c:pt>
                <c:pt idx="32">
                  <c:v>2668</c:v>
                </c:pt>
                <c:pt idx="33">
                  <c:v>2518</c:v>
                </c:pt>
                <c:pt idx="34">
                  <c:v>2344</c:v>
                </c:pt>
                <c:pt idx="35">
                  <c:v>2212</c:v>
                </c:pt>
                <c:pt idx="36">
                  <c:v>2118</c:v>
                </c:pt>
                <c:pt idx="37">
                  <c:v>1880</c:v>
                </c:pt>
                <c:pt idx="38">
                  <c:v>1861</c:v>
                </c:pt>
                <c:pt idx="39">
                  <c:v>1978</c:v>
                </c:pt>
                <c:pt idx="40">
                  <c:v>1821</c:v>
                </c:pt>
                <c:pt idx="41">
                  <c:v>1709</c:v>
                </c:pt>
                <c:pt idx="42">
                  <c:v>1612</c:v>
                </c:pt>
                <c:pt idx="43">
                  <c:v>1523</c:v>
                </c:pt>
                <c:pt idx="44">
                  <c:v>1326</c:v>
                </c:pt>
                <c:pt idx="45">
                  <c:v>1312</c:v>
                </c:pt>
                <c:pt idx="46">
                  <c:v>1391</c:v>
                </c:pt>
                <c:pt idx="47">
                  <c:v>1255</c:v>
                </c:pt>
                <c:pt idx="48">
                  <c:v>1149</c:v>
                </c:pt>
                <c:pt idx="49">
                  <c:v>1058</c:v>
                </c:pt>
                <c:pt idx="50">
                  <c:v>1011</c:v>
                </c:pt>
                <c:pt idx="51">
                  <c:v>867</c:v>
                </c:pt>
                <c:pt idx="52">
                  <c:v>850</c:v>
                </c:pt>
                <c:pt idx="53">
                  <c:v>880</c:v>
                </c:pt>
                <c:pt idx="54">
                  <c:v>784</c:v>
                </c:pt>
                <c:pt idx="55">
                  <c:v>758</c:v>
                </c:pt>
                <c:pt idx="56">
                  <c:v>665</c:v>
                </c:pt>
                <c:pt idx="57">
                  <c:v>606</c:v>
                </c:pt>
                <c:pt idx="58">
                  <c:v>504</c:v>
                </c:pt>
                <c:pt idx="59">
                  <c:v>505</c:v>
                </c:pt>
                <c:pt idx="60">
                  <c:v>544</c:v>
                </c:pt>
                <c:pt idx="61">
                  <c:v>469</c:v>
                </c:pt>
                <c:pt idx="62">
                  <c:v>430</c:v>
                </c:pt>
                <c:pt idx="63">
                  <c:v>371</c:v>
                </c:pt>
                <c:pt idx="64">
                  <c:v>349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86027629843584441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52</c:v>
                </c:pt>
                <c:pt idx="1">
                  <c:v>2478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2</c:v>
                </c:pt>
                <c:pt idx="13">
                  <c:v>1523</c:v>
                </c:pt>
                <c:pt idx="14">
                  <c:v>1326</c:v>
                </c:pt>
                <c:pt idx="15">
                  <c:v>1312</c:v>
                </c:pt>
                <c:pt idx="16">
                  <c:v>1391</c:v>
                </c:pt>
                <c:pt idx="17">
                  <c:v>1255</c:v>
                </c:pt>
                <c:pt idx="18">
                  <c:v>1149</c:v>
                </c:pt>
                <c:pt idx="19">
                  <c:v>1058</c:v>
                </c:pt>
                <c:pt idx="20">
                  <c:v>1011</c:v>
                </c:pt>
                <c:pt idx="21">
                  <c:v>867</c:v>
                </c:pt>
                <c:pt idx="22">
                  <c:v>850</c:v>
                </c:pt>
                <c:pt idx="23">
                  <c:v>880</c:v>
                </c:pt>
                <c:pt idx="24">
                  <c:v>784</c:v>
                </c:pt>
                <c:pt idx="25">
                  <c:v>758</c:v>
                </c:pt>
                <c:pt idx="26">
                  <c:v>665</c:v>
                </c:pt>
                <c:pt idx="27">
                  <c:v>606</c:v>
                </c:pt>
                <c:pt idx="28">
                  <c:v>504</c:v>
                </c:pt>
                <c:pt idx="29">
                  <c:v>505</c:v>
                </c:pt>
                <c:pt idx="30">
                  <c:v>544</c:v>
                </c:pt>
                <c:pt idx="31">
                  <c:v>469</c:v>
                </c:pt>
                <c:pt idx="32">
                  <c:v>430</c:v>
                </c:pt>
                <c:pt idx="33">
                  <c:v>371</c:v>
                </c:pt>
                <c:pt idx="34">
                  <c:v>349</c:v>
                </c:pt>
                <c:pt idx="35">
                  <c:v>29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E3-478B-A7A3-42706AD90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2.82615079301877</c:v>
                </c:pt>
                <c:pt idx="32">
                  <c:v>465.44454499131621</c:v>
                </c:pt>
                <c:pt idx="33">
                  <c:v>430.63470350173083</c:v>
                </c:pt>
                <c:pt idx="34">
                  <c:v>397.92441638020136</c:v>
                </c:pt>
                <c:pt idx="35">
                  <c:v>367.65085148759994</c:v>
                </c:pt>
                <c:pt idx="36">
                  <c:v>340.55668736680252</c:v>
                </c:pt>
                <c:pt idx="37">
                  <c:v>315.42744916638338</c:v>
                </c:pt>
                <c:pt idx="38">
                  <c:v>291.20712875673195</c:v>
                </c:pt>
                <c:pt idx="39">
                  <c:v>268.36195862221638</c:v>
                </c:pt>
                <c:pt idx="40">
                  <c:v>247.00770742687581</c:v>
                </c:pt>
                <c:pt idx="41">
                  <c:v>227.11869602500252</c:v>
                </c:pt>
                <c:pt idx="42">
                  <c:v>209.12903255862668</c:v>
                </c:pt>
                <c:pt idx="43">
                  <c:v>192.87002923741076</c:v>
                </c:pt>
                <c:pt idx="44">
                  <c:v>177.56007747230865</c:v>
                </c:pt>
                <c:pt idx="45">
                  <c:v>162.80853550591686</c:v>
                </c:pt>
                <c:pt idx="46">
                  <c:v>149.02483968013385</c:v>
                </c:pt>
                <c:pt idx="47">
                  <c:v>136.23089620639243</c:v>
                </c:pt>
                <c:pt idx="48">
                  <c:v>124.3598255630603</c:v>
                </c:pt>
                <c:pt idx="49">
                  <c:v>113.33568154217264</c:v>
                </c:pt>
                <c:pt idx="50">
                  <c:v>103.20351147261255</c:v>
                </c:pt>
                <c:pt idx="51">
                  <c:v>93.61228851376535</c:v>
                </c:pt>
                <c:pt idx="52">
                  <c:v>84.605095515771893</c:v>
                </c:pt>
                <c:pt idx="53">
                  <c:v>76.208644947896431</c:v>
                </c:pt>
                <c:pt idx="54">
                  <c:v>68.342205845103308</c:v>
                </c:pt>
                <c:pt idx="55">
                  <c:v>60.959015384547733</c:v>
                </c:pt>
                <c:pt idx="56">
                  <c:v>54.053853708658629</c:v>
                </c:pt>
                <c:pt idx="57">
                  <c:v>47.655241352545289</c:v>
                </c:pt>
                <c:pt idx="58">
                  <c:v>41.561318615624046</c:v>
                </c:pt>
                <c:pt idx="59">
                  <c:v>35.954308724433453</c:v>
                </c:pt>
                <c:pt idx="60">
                  <c:v>30.67759358561889</c:v>
                </c:pt>
                <c:pt idx="61">
                  <c:v>25.678453536464563</c:v>
                </c:pt>
                <c:pt idx="62">
                  <c:v>20.964634800522497</c:v>
                </c:pt>
                <c:pt idx="63">
                  <c:v>16.632971968466009</c:v>
                </c:pt>
                <c:pt idx="64">
                  <c:v>12.567537457544914</c:v>
                </c:pt>
                <c:pt idx="65">
                  <c:v>8.7113642941920748</c:v>
                </c:pt>
                <c:pt idx="66">
                  <c:v>5.1209448104887887</c:v>
                </c:pt>
                <c:pt idx="67">
                  <c:v>1.7977631462538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EE3-478B-A7A3-42706AD90196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EE3-478B-A7A3-42706AD90196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3.97789751512971</c:v>
                </c:pt>
                <c:pt idx="32">
                  <c:v>468.53803363752587</c:v>
                </c:pt>
                <c:pt idx="33">
                  <c:v>436.12426831847665</c:v>
                </c:pt>
                <c:pt idx="34">
                  <c:v>406.05947988694726</c:v>
                </c:pt>
                <c:pt idx="35">
                  <c:v>378.74513485070753</c:v>
                </c:pt>
                <c:pt idx="36">
                  <c:v>355.0596468544573</c:v>
                </c:pt>
                <c:pt idx="37">
                  <c:v>333.87344550647214</c:v>
                </c:pt>
                <c:pt idx="38">
                  <c:v>314.05975082707744</c:v>
                </c:pt>
                <c:pt idx="39">
                  <c:v>295.87129027434474</c:v>
                </c:pt>
                <c:pt idx="40">
                  <c:v>279.3250229769896</c:v>
                </c:pt>
                <c:pt idx="41">
                  <c:v>264.31671331592054</c:v>
                </c:pt>
                <c:pt idx="42">
                  <c:v>251.33573264781677</c:v>
                </c:pt>
                <c:pt idx="43">
                  <c:v>240.19736470249649</c:v>
                </c:pt>
                <c:pt idx="44">
                  <c:v>230.03076522160825</c:v>
                </c:pt>
                <c:pt idx="45">
                  <c:v>220.36490432488688</c:v>
                </c:pt>
                <c:pt idx="46">
                  <c:v>211.49647664260823</c:v>
                </c:pt>
                <c:pt idx="47">
                  <c:v>203.44413696782615</c:v>
                </c:pt>
                <c:pt idx="48">
                  <c:v>196.17625426863813</c:v>
                </c:pt>
                <c:pt idx="49">
                  <c:v>189.55929816541209</c:v>
                </c:pt>
                <c:pt idx="50">
                  <c:v>183.62183653489916</c:v>
                </c:pt>
                <c:pt idx="51">
                  <c:v>178.03615524894909</c:v>
                </c:pt>
                <c:pt idx="52">
                  <c:v>172.7808631729967</c:v>
                </c:pt>
                <c:pt idx="53">
                  <c:v>167.87358510048799</c:v>
                </c:pt>
                <c:pt idx="54">
                  <c:v>163.27744029427544</c:v>
                </c:pt>
                <c:pt idx="55">
                  <c:v>158.9340733921895</c:v>
                </c:pt>
                <c:pt idx="56">
                  <c:v>154.8466341994675</c:v>
                </c:pt>
                <c:pt idx="57">
                  <c:v>151.02137736615251</c:v>
                </c:pt>
                <c:pt idx="58">
                  <c:v>147.29323785213853</c:v>
                </c:pt>
                <c:pt idx="59">
                  <c:v>143.79862751718269</c:v>
                </c:pt>
                <c:pt idx="60">
                  <c:v>140.44985933126023</c:v>
                </c:pt>
                <c:pt idx="61">
                  <c:v>137.18829712889283</c:v>
                </c:pt>
                <c:pt idx="62">
                  <c:v>134.03132657393445</c:v>
                </c:pt>
                <c:pt idx="63">
                  <c:v>131.05546551805205</c:v>
                </c:pt>
                <c:pt idx="64">
                  <c:v>128.18436550493874</c:v>
                </c:pt>
                <c:pt idx="65">
                  <c:v>125.37929547769465</c:v>
                </c:pt>
                <c:pt idx="66">
                  <c:v>122.67780579780758</c:v>
                </c:pt>
                <c:pt idx="67">
                  <c:v>120.05678776835312</c:v>
                </c:pt>
                <c:pt idx="68">
                  <c:v>117.52946459370423</c:v>
                </c:pt>
                <c:pt idx="69">
                  <c:v>115.06716332279878</c:v>
                </c:pt>
                <c:pt idx="70">
                  <c:v>112.69502437738188</c:v>
                </c:pt>
                <c:pt idx="71">
                  <c:v>110.38080367324638</c:v>
                </c:pt>
                <c:pt idx="72">
                  <c:v>108.10055769962938</c:v>
                </c:pt>
                <c:pt idx="73">
                  <c:v>105.88592719014662</c:v>
                </c:pt>
                <c:pt idx="74">
                  <c:v>103.74873028981192</c:v>
                </c:pt>
                <c:pt idx="75">
                  <c:v>101.66126118829411</c:v>
                </c:pt>
                <c:pt idx="76">
                  <c:v>99.581150807324946</c:v>
                </c:pt>
                <c:pt idx="77">
                  <c:v>97.614035613730096</c:v>
                </c:pt>
                <c:pt idx="78">
                  <c:v>95.664161887779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EE3-478B-A7A3-42706AD901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5.12964423724077</c:v>
                </c:pt>
                <c:pt idx="32">
                  <c:v>471.6635152482387</c:v>
                </c:pt>
                <c:pt idx="33">
                  <c:v>441.65177392864047</c:v>
                </c:pt>
                <c:pt idx="34">
                  <c:v>414.20213946275896</c:v>
                </c:pt>
                <c:pt idx="35">
                  <c:v>389.97010086415906</c:v>
                </c:pt>
                <c:pt idx="36">
                  <c:v>370.0042581651187</c:v>
                </c:pt>
                <c:pt idx="37">
                  <c:v>353.30070826762477</c:v>
                </c:pt>
                <c:pt idx="38">
                  <c:v>338.73737229808228</c:v>
                </c:pt>
                <c:pt idx="39">
                  <c:v>326.24315534371993</c:v>
                </c:pt>
                <c:pt idx="40">
                  <c:v>315.71989351086125</c:v>
                </c:pt>
                <c:pt idx="41">
                  <c:v>307.14496448702016</c:v>
                </c:pt>
                <c:pt idx="42">
                  <c:v>301.12272063722412</c:v>
                </c:pt>
                <c:pt idx="43">
                  <c:v>297.4906919161844</c:v>
                </c:pt>
                <c:pt idx="44">
                  <c:v>295.22727368735781</c:v>
                </c:pt>
                <c:pt idx="45">
                  <c:v>293.79348254363885</c:v>
                </c:pt>
                <c:pt idx="46">
                  <c:v>293.36459142813123</c:v>
                </c:pt>
                <c:pt idx="47">
                  <c:v>294.04133153686001</c:v>
                </c:pt>
                <c:pt idx="48">
                  <c:v>295.79985478544597</c:v>
                </c:pt>
                <c:pt idx="49">
                  <c:v>298.49237085486857</c:v>
                </c:pt>
                <c:pt idx="50">
                  <c:v>302.11914668770544</c:v>
                </c:pt>
                <c:pt idx="51">
                  <c:v>306.22636883227852</c:v>
                </c:pt>
                <c:pt idx="52">
                  <c:v>310.77859970425067</c:v>
                </c:pt>
                <c:pt idx="53">
                  <c:v>315.86956750970148</c:v>
                </c:pt>
                <c:pt idx="54">
                  <c:v>321.47159911662339</c:v>
                </c:pt>
                <c:pt idx="55">
                  <c:v>327.48974036347329</c:v>
                </c:pt>
                <c:pt idx="56">
                  <c:v>333.87667238349968</c:v>
                </c:pt>
                <c:pt idx="57">
                  <c:v>340.67696373429254</c:v>
                </c:pt>
                <c:pt idx="58">
                  <c:v>347.69022927574213</c:v>
                </c:pt>
                <c:pt idx="59">
                  <c:v>355.04261233346358</c:v>
                </c:pt>
                <c:pt idx="60">
                  <c:v>362.70396812488468</c:v>
                </c:pt>
                <c:pt idx="61">
                  <c:v>370.55691956272051</c:v>
                </c:pt>
                <c:pt idx="62">
                  <c:v>378.66441615487236</c:v>
                </c:pt>
                <c:pt idx="63">
                  <c:v>387.07116170486563</c:v>
                </c:pt>
                <c:pt idx="64">
                  <c:v>395.7208595335681</c:v>
                </c:pt>
                <c:pt idx="65">
                  <c:v>404.54248191647264</c:v>
                </c:pt>
                <c:pt idx="66">
                  <c:v>413.62897144805686</c:v>
                </c:pt>
                <c:pt idx="67">
                  <c:v>422.92925480807207</c:v>
                </c:pt>
                <c:pt idx="68">
                  <c:v>432.44426915800068</c:v>
                </c:pt>
                <c:pt idx="69">
                  <c:v>442.13741454931079</c:v>
                </c:pt>
                <c:pt idx="70">
                  <c:v>452.05953465037157</c:v>
                </c:pt>
                <c:pt idx="71">
                  <c:v>462.20982179541375</c:v>
                </c:pt>
                <c:pt idx="72">
                  <c:v>472.50071943325554</c:v>
                </c:pt>
                <c:pt idx="73">
                  <c:v>483.04339526126444</c:v>
                </c:pt>
                <c:pt idx="74">
                  <c:v>493.82542420356265</c:v>
                </c:pt>
                <c:pt idx="75">
                  <c:v>504.77749470337602</c:v>
                </c:pt>
                <c:pt idx="76">
                  <c:v>515.90857242652885</c:v>
                </c:pt>
                <c:pt idx="77">
                  <c:v>527.29682485019487</c:v>
                </c:pt>
                <c:pt idx="78">
                  <c:v>538.89853031518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EE3-478B-A7A3-42706AD901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EE3-478B-A7A3-42706AD90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d/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2</c:v>
                </c:pt>
                <c:pt idx="6">
                  <c:v>1358</c:v>
                </c:pt>
                <c:pt idx="7">
                  <c:v>1312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6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19</c:v>
                </c:pt>
                <c:pt idx="39">
                  <c:v>425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1</c:v>
                </c:pt>
                <c:pt idx="44">
                  <c:v>308</c:v>
                </c:pt>
                <c:pt idx="45">
                  <c:v>303</c:v>
                </c:pt>
                <c:pt idx="46">
                  <c:v>295</c:v>
                </c:pt>
                <c:pt idx="47">
                  <c:v>279</c:v>
                </c:pt>
                <c:pt idx="48">
                  <c:v>249</c:v>
                </c:pt>
                <c:pt idx="49">
                  <c:v>217</c:v>
                </c:pt>
                <c:pt idx="50">
                  <c:v>190</c:v>
                </c:pt>
                <c:pt idx="51">
                  <c:v>188</c:v>
                </c:pt>
                <c:pt idx="52">
                  <c:v>186</c:v>
                </c:pt>
                <c:pt idx="53">
                  <c:v>181</c:v>
                </c:pt>
                <c:pt idx="54">
                  <c:v>161</c:v>
                </c:pt>
                <c:pt idx="55">
                  <c:v>154</c:v>
                </c:pt>
                <c:pt idx="56">
                  <c:v>143</c:v>
                </c:pt>
                <c:pt idx="57">
                  <c:v>126</c:v>
                </c:pt>
                <c:pt idx="58">
                  <c:v>109</c:v>
                </c:pt>
                <c:pt idx="59">
                  <c:v>111</c:v>
                </c:pt>
                <c:pt idx="60">
                  <c:v>116</c:v>
                </c:pt>
                <c:pt idx="61">
                  <c:v>97</c:v>
                </c:pt>
                <c:pt idx="62">
                  <c:v>89</c:v>
                </c:pt>
                <c:pt idx="63">
                  <c:v>77</c:v>
                </c:pt>
                <c:pt idx="64">
                  <c:v>69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85103258743643495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51</c:v>
                </c:pt>
                <c:pt idx="1">
                  <c:v>557</c:v>
                </c:pt>
                <c:pt idx="2">
                  <c:v>563</c:v>
                </c:pt>
                <c:pt idx="3">
                  <c:v>542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0</c:v>
                </c:pt>
                <c:pt idx="21">
                  <c:v>188</c:v>
                </c:pt>
                <c:pt idx="22">
                  <c:v>186</c:v>
                </c:pt>
                <c:pt idx="23">
                  <c:v>181</c:v>
                </c:pt>
                <c:pt idx="24">
                  <c:v>161</c:v>
                </c:pt>
                <c:pt idx="25">
                  <c:v>154</c:v>
                </c:pt>
                <c:pt idx="26">
                  <c:v>143</c:v>
                </c:pt>
                <c:pt idx="27">
                  <c:v>126</c:v>
                </c:pt>
                <c:pt idx="28">
                  <c:v>109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77</c:v>
                </c:pt>
                <c:pt idx="34">
                  <c:v>69</c:v>
                </c:pt>
                <c:pt idx="35">
                  <c:v>59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62-4D3D-A575-DF8C06189F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8.21605432753165</c:v>
                </c:pt>
                <c:pt idx="32">
                  <c:v>99.791412100607104</c:v>
                </c:pt>
                <c:pt idx="33">
                  <c:v>91.971402696727992</c:v>
                </c:pt>
                <c:pt idx="34">
                  <c:v>84.482604577250157</c:v>
                </c:pt>
                <c:pt idx="35">
                  <c:v>77.506805132118515</c:v>
                </c:pt>
                <c:pt idx="36">
                  <c:v>71.164896838215526</c:v>
                </c:pt>
                <c:pt idx="37">
                  <c:v>65.243038808012344</c:v>
                </c:pt>
                <c:pt idx="38">
                  <c:v>59.6828987529587</c:v>
                </c:pt>
                <c:pt idx="39">
                  <c:v>54.492189187720371</c:v>
                </c:pt>
                <c:pt idx="40">
                  <c:v>49.613094127429065</c:v>
                </c:pt>
                <c:pt idx="41">
                  <c:v>44.965345182831427</c:v>
                </c:pt>
                <c:pt idx="42">
                  <c:v>40.667103985955116</c:v>
                </c:pt>
                <c:pt idx="43">
                  <c:v>36.778024512549905</c:v>
                </c:pt>
                <c:pt idx="44">
                  <c:v>33.040102749907142</c:v>
                </c:pt>
                <c:pt idx="45">
                  <c:v>29.563642975284964</c:v>
                </c:pt>
                <c:pt idx="46">
                  <c:v>26.325259419531676</c:v>
                </c:pt>
                <c:pt idx="47">
                  <c:v>23.140514177045109</c:v>
                </c:pt>
                <c:pt idx="48">
                  <c:v>20.267273357580471</c:v>
                </c:pt>
                <c:pt idx="49">
                  <c:v>17.550897749233471</c:v>
                </c:pt>
                <c:pt idx="50">
                  <c:v>14.919728057211582</c:v>
                </c:pt>
                <c:pt idx="51">
                  <c:v>12.565902974766217</c:v>
                </c:pt>
                <c:pt idx="52">
                  <c:v>10.253795817869289</c:v>
                </c:pt>
                <c:pt idx="53">
                  <c:v>8.0900785025079589</c:v>
                </c:pt>
                <c:pt idx="54">
                  <c:v>6.0437248935750931</c:v>
                </c:pt>
                <c:pt idx="55">
                  <c:v>4.095745334807769</c:v>
                </c:pt>
                <c:pt idx="56">
                  <c:v>2.3387269157962685</c:v>
                </c:pt>
                <c:pt idx="57">
                  <c:v>0.62440334381814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62-4D3D-A575-DF8C06189FE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62-4D3D-A575-DF8C06189FE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8.34548855243033</c:v>
                </c:pt>
                <c:pt idx="32">
                  <c:v>100.15228081873907</c:v>
                </c:pt>
                <c:pt idx="33">
                  <c:v>92.641355156728565</c:v>
                </c:pt>
                <c:pt idx="34">
                  <c:v>85.521567177238978</c:v>
                </c:pt>
                <c:pt idx="35">
                  <c:v>78.982847483081741</c:v>
                </c:pt>
                <c:pt idx="36">
                  <c:v>73.160313180545074</c:v>
                </c:pt>
                <c:pt idx="37">
                  <c:v>67.855813169970048</c:v>
                </c:pt>
                <c:pt idx="38">
                  <c:v>63.006656143735079</c:v>
                </c:pt>
                <c:pt idx="39">
                  <c:v>58.598274993491799</c:v>
                </c:pt>
                <c:pt idx="40">
                  <c:v>54.560571246576174</c:v>
                </c:pt>
                <c:pt idx="41">
                  <c:v>50.80178195703148</c:v>
                </c:pt>
                <c:pt idx="42">
                  <c:v>47.439826811648516</c:v>
                </c:pt>
                <c:pt idx="43">
                  <c:v>44.52917332671425</c:v>
                </c:pt>
                <c:pt idx="44">
                  <c:v>41.797348782875602</c:v>
                </c:pt>
                <c:pt idx="45">
                  <c:v>39.341598644194377</c:v>
                </c:pt>
                <c:pt idx="46">
                  <c:v>37.122095235887706</c:v>
                </c:pt>
                <c:pt idx="47">
                  <c:v>34.948284832390748</c:v>
                </c:pt>
                <c:pt idx="48">
                  <c:v>33.07487178290053</c:v>
                </c:pt>
                <c:pt idx="49">
                  <c:v>31.336528040844186</c:v>
                </c:pt>
                <c:pt idx="50">
                  <c:v>29.655785584418879</c:v>
                </c:pt>
                <c:pt idx="51">
                  <c:v>28.224435855763673</c:v>
                </c:pt>
                <c:pt idx="52">
                  <c:v>26.796647704720801</c:v>
                </c:pt>
                <c:pt idx="53">
                  <c:v>25.475558714683402</c:v>
                </c:pt>
                <c:pt idx="54">
                  <c:v>24.232054498802331</c:v>
                </c:pt>
                <c:pt idx="55">
                  <c:v>23.043475848124832</c:v>
                </c:pt>
                <c:pt idx="56">
                  <c:v>22.001704661763686</c:v>
                </c:pt>
                <c:pt idx="57">
                  <c:v>20.955440726027199</c:v>
                </c:pt>
                <c:pt idx="58">
                  <c:v>20.001617993958373</c:v>
                </c:pt>
                <c:pt idx="59">
                  <c:v>19.07111450308215</c:v>
                </c:pt>
                <c:pt idx="60">
                  <c:v>18.204523725517966</c:v>
                </c:pt>
                <c:pt idx="61">
                  <c:v>17.382268420223649</c:v>
                </c:pt>
                <c:pt idx="62">
                  <c:v>16.566443338300235</c:v>
                </c:pt>
                <c:pt idx="63">
                  <c:v>15.7835763484322</c:v>
                </c:pt>
                <c:pt idx="64">
                  <c:v>15.03039444677526</c:v>
                </c:pt>
                <c:pt idx="65">
                  <c:v>14.326646123118909</c:v>
                </c:pt>
                <c:pt idx="66">
                  <c:v>13.631684047267145</c:v>
                </c:pt>
                <c:pt idx="67">
                  <c:v>12.975114007368836</c:v>
                </c:pt>
                <c:pt idx="68">
                  <c:v>12.346179967400063</c:v>
                </c:pt>
                <c:pt idx="69">
                  <c:v>11.725919097872161</c:v>
                </c:pt>
                <c:pt idx="70">
                  <c:v>11.125929486627189</c:v>
                </c:pt>
                <c:pt idx="71">
                  <c:v>10.547388393697098</c:v>
                </c:pt>
                <c:pt idx="72">
                  <c:v>9.9964870430889796</c:v>
                </c:pt>
                <c:pt idx="73">
                  <c:v>9.4551196317968191</c:v>
                </c:pt>
                <c:pt idx="74">
                  <c:v>8.9165794653803694</c:v>
                </c:pt>
                <c:pt idx="75">
                  <c:v>8.4241237718693718</c:v>
                </c:pt>
                <c:pt idx="76">
                  <c:v>7.9186102192141679</c:v>
                </c:pt>
                <c:pt idx="77">
                  <c:v>7.4517250390477496</c:v>
                </c:pt>
                <c:pt idx="78">
                  <c:v>6.986135338143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62-4D3D-A575-DF8C06189FE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8.47492277732897</c:v>
                </c:pt>
                <c:pt idx="32">
                  <c:v>100.51674493200709</c:v>
                </c:pt>
                <c:pt idx="33">
                  <c:v>93.315938655084238</c:v>
                </c:pt>
                <c:pt idx="34">
                  <c:v>86.562305673626526</c:v>
                </c:pt>
                <c:pt idx="35">
                  <c:v>80.474647764195851</c:v>
                </c:pt>
                <c:pt idx="36">
                  <c:v>75.207821863887119</c:v>
                </c:pt>
                <c:pt idx="37">
                  <c:v>70.586714446407512</c:v>
                </c:pt>
                <c:pt idx="38">
                  <c:v>66.555922339866299</c:v>
                </c:pt>
                <c:pt idx="39">
                  <c:v>63.069769953113017</c:v>
                </c:pt>
                <c:pt idx="40">
                  <c:v>60.046059999931586</c:v>
                </c:pt>
                <c:pt idx="41">
                  <c:v>57.401267418839105</c:v>
                </c:pt>
                <c:pt idx="42">
                  <c:v>55.262796448849173</c:v>
                </c:pt>
                <c:pt idx="43">
                  <c:v>53.688152266838507</c:v>
                </c:pt>
                <c:pt idx="44">
                  <c:v>52.388123884648707</c:v>
                </c:pt>
                <c:pt idx="45">
                  <c:v>51.451150948393376</c:v>
                </c:pt>
                <c:pt idx="46">
                  <c:v>50.82177351579076</c:v>
                </c:pt>
                <c:pt idx="47">
                  <c:v>50.315192469763346</c:v>
                </c:pt>
                <c:pt idx="48">
                  <c:v>50.182124971986219</c:v>
                </c:pt>
                <c:pt idx="49">
                  <c:v>50.253386941668218</c:v>
                </c:pt>
                <c:pt idx="50">
                  <c:v>50.446592101085329</c:v>
                </c:pt>
                <c:pt idx="51">
                  <c:v>50.938384794158836</c:v>
                </c:pt>
                <c:pt idx="52">
                  <c:v>51.477762849228995</c:v>
                </c:pt>
                <c:pt idx="53">
                  <c:v>52.173609917639936</c:v>
                </c:pt>
                <c:pt idx="54">
                  <c:v>52.995091699228169</c:v>
                </c:pt>
                <c:pt idx="55">
                  <c:v>53.913669359427544</c:v>
                </c:pt>
                <c:pt idx="56">
                  <c:v>55.014189384211207</c:v>
                </c:pt>
                <c:pt idx="57">
                  <c:v>56.148138431959595</c:v>
                </c:pt>
                <c:pt idx="58">
                  <c:v>57.407308517132549</c:v>
                </c:pt>
                <c:pt idx="59">
                  <c:v>58.720502742872846</c:v>
                </c:pt>
                <c:pt idx="60">
                  <c:v>60.132998056213999</c:v>
                </c:pt>
                <c:pt idx="61">
                  <c:v>61.617678502153844</c:v>
                </c:pt>
                <c:pt idx="62">
                  <c:v>63.141068898188834</c:v>
                </c:pt>
                <c:pt idx="63">
                  <c:v>64.726405384459369</c:v>
                </c:pt>
                <c:pt idx="64">
                  <c:v>66.372072650262737</c:v>
                </c:pt>
                <c:pt idx="65">
                  <c:v>68.093681626325107</c:v>
                </c:pt>
                <c:pt idx="66">
                  <c:v>69.856440861780797</c:v>
                </c:pt>
                <c:pt idx="67">
                  <c:v>71.686767467435573</c:v>
                </c:pt>
                <c:pt idx="68">
                  <c:v>73.572830877917298</c:v>
                </c:pt>
                <c:pt idx="69">
                  <c:v>75.494615038341792</c:v>
                </c:pt>
                <c:pt idx="70">
                  <c:v>77.466152828732874</c:v>
                </c:pt>
                <c:pt idx="71">
                  <c:v>79.491869785700302</c:v>
                </c:pt>
                <c:pt idx="72">
                  <c:v>81.571774725550426</c:v>
                </c:pt>
                <c:pt idx="73">
                  <c:v>83.696452605850681</c:v>
                </c:pt>
                <c:pt idx="74">
                  <c:v>85.856845224692009</c:v>
                </c:pt>
                <c:pt idx="75">
                  <c:v>88.091995235457929</c:v>
                </c:pt>
                <c:pt idx="76">
                  <c:v>90.348452893665652</c:v>
                </c:pt>
                <c:pt idx="77">
                  <c:v>92.675103056969334</c:v>
                </c:pt>
                <c:pt idx="78">
                  <c:v>95.040508858769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62-4D3D-A575-DF8C06189FE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62-4D3D-A575-DF8C06189F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d/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068264342774141E-2</c:v>
                </c:pt>
                <c:pt idx="1">
                  <c:v>7.715491259795057E-2</c:v>
                </c:pt>
                <c:pt idx="2">
                  <c:v>9.1127922971114161E-2</c:v>
                </c:pt>
                <c:pt idx="3">
                  <c:v>7.7478924126856683E-2</c:v>
                </c:pt>
                <c:pt idx="4">
                  <c:v>0.13089937666963491</c:v>
                </c:pt>
                <c:pt idx="5">
                  <c:v>6.7722075637642917E-2</c:v>
                </c:pt>
                <c:pt idx="6">
                  <c:v>9.5685604442545924E-2</c:v>
                </c:pt>
                <c:pt idx="7">
                  <c:v>9.8598023442886693E-2</c:v>
                </c:pt>
                <c:pt idx="8">
                  <c:v>0.11461826790293944</c:v>
                </c:pt>
                <c:pt idx="9">
                  <c:v>8.689047546711226E-2</c:v>
                </c:pt>
                <c:pt idx="10">
                  <c:v>0.15587392550143267</c:v>
                </c:pt>
                <c:pt idx="11">
                  <c:v>0.16857855361596011</c:v>
                </c:pt>
                <c:pt idx="12">
                  <c:v>7.4589979779824761E-2</c:v>
                </c:pt>
                <c:pt idx="13">
                  <c:v>8.8331008833100882E-2</c:v>
                </c:pt>
                <c:pt idx="14">
                  <c:v>0.12506767731456417</c:v>
                </c:pt>
                <c:pt idx="15">
                  <c:v>0.18131036890492261</c:v>
                </c:pt>
                <c:pt idx="16">
                  <c:v>0.14159764894469676</c:v>
                </c:pt>
                <c:pt idx="17">
                  <c:v>0.14805371409144993</c:v>
                </c:pt>
                <c:pt idx="18">
                  <c:v>0.11461402474955805</c:v>
                </c:pt>
                <c:pt idx="19">
                  <c:v>9.3676447512945238E-2</c:v>
                </c:pt>
                <c:pt idx="20">
                  <c:v>0.13889892784001928</c:v>
                </c:pt>
                <c:pt idx="21">
                  <c:v>0.13669145819247239</c:v>
                </c:pt>
                <c:pt idx="22">
                  <c:v>0.15420109453804057</c:v>
                </c:pt>
                <c:pt idx="23">
                  <c:v>0.17140750105351876</c:v>
                </c:pt>
                <c:pt idx="24">
                  <c:v>0.15963855421686746</c:v>
                </c:pt>
                <c:pt idx="25">
                  <c:v>0.15120355223182988</c:v>
                </c:pt>
                <c:pt idx="26">
                  <c:v>0.14407456724367509</c:v>
                </c:pt>
                <c:pt idx="27">
                  <c:v>0.14664586583463338</c:v>
                </c:pt>
                <c:pt idx="28">
                  <c:v>0.17771180150567278</c:v>
                </c:pt>
                <c:pt idx="29">
                  <c:v>0.20697061407790687</c:v>
                </c:pt>
                <c:pt idx="30">
                  <c:v>0.21121513183034007</c:v>
                </c:pt>
                <c:pt idx="31">
                  <c:v>0.22010178117048346</c:v>
                </c:pt>
                <c:pt idx="32">
                  <c:v>0.26157965194109772</c:v>
                </c:pt>
                <c:pt idx="33">
                  <c:v>0.2425729081493595</c:v>
                </c:pt>
                <c:pt idx="34">
                  <c:v>0.24219610723466764</c:v>
                </c:pt>
                <c:pt idx="35">
                  <c:v>0.27578857630008524</c:v>
                </c:pt>
                <c:pt idx="36">
                  <c:v>0.28454070201643017</c:v>
                </c:pt>
                <c:pt idx="37">
                  <c:v>0.39624454794115471</c:v>
                </c:pt>
                <c:pt idx="38">
                  <c:v>0.32752084912812734</c:v>
                </c:pt>
                <c:pt idx="39">
                  <c:v>0.34195348837209305</c:v>
                </c:pt>
                <c:pt idx="40">
                  <c:v>0.25889096864763689</c:v>
                </c:pt>
                <c:pt idx="41">
                  <c:v>0.32820479669015451</c:v>
                </c:pt>
                <c:pt idx="42">
                  <c:v>0.34797090989840673</c:v>
                </c:pt>
                <c:pt idx="43">
                  <c:v>0.352140742427693</c:v>
                </c:pt>
                <c:pt idx="44">
                  <c:v>0.35702241618726444</c:v>
                </c:pt>
                <c:pt idx="45">
                  <c:v>0.36578426521523999</c:v>
                </c:pt>
                <c:pt idx="46">
                  <c:v>0.37076366922729326</c:v>
                </c:pt>
                <c:pt idx="47">
                  <c:v>0.34903786893104155</c:v>
                </c:pt>
                <c:pt idx="48">
                  <c:v>0.36409768474468762</c:v>
                </c:pt>
                <c:pt idx="49">
                  <c:v>0.40689255719664058</c:v>
                </c:pt>
                <c:pt idx="50">
                  <c:v>0.3883294916899187</c:v>
                </c:pt>
                <c:pt idx="51">
                  <c:v>0.40466254714709893</c:v>
                </c:pt>
                <c:pt idx="52">
                  <c:v>0.38497652582159625</c:v>
                </c:pt>
                <c:pt idx="53">
                  <c:v>0.41515493446749413</c:v>
                </c:pt>
                <c:pt idx="54">
                  <c:v>0.36295049934867563</c:v>
                </c:pt>
                <c:pt idx="55">
                  <c:v>0.38204828944489022</c:v>
                </c:pt>
                <c:pt idx="56">
                  <c:v>0.39477193918378234</c:v>
                </c:pt>
                <c:pt idx="57">
                  <c:v>0.37399145704793546</c:v>
                </c:pt>
                <c:pt idx="58">
                  <c:v>0.34489445811889313</c:v>
                </c:pt>
                <c:pt idx="59">
                  <c:v>0.38165362035225048</c:v>
                </c:pt>
                <c:pt idx="60">
                  <c:v>0.38643229881900576</c:v>
                </c:pt>
                <c:pt idx="61">
                  <c:v>0.37397420867526376</c:v>
                </c:pt>
                <c:pt idx="62">
                  <c:v>0.34597175740755859</c:v>
                </c:pt>
                <c:pt idx="63">
                  <c:v>0.41490663613753898</c:v>
                </c:pt>
                <c:pt idx="64">
                  <c:v>0.38157949227647325</c:v>
                </c:pt>
                <c:pt idx="65">
                  <c:v>0.34462970493877365</c:v>
                </c:pt>
                <c:pt idx="66">
                  <c:v>0.35783419834478891</c:v>
                </c:pt>
                <c:pt idx="67">
                  <c:v>0.3255504654943106</c:v>
                </c:pt>
                <c:pt idx="68">
                  <c:v>0.25541184479237578</c:v>
                </c:pt>
                <c:pt idx="69">
                  <c:v>0.30508043168397475</c:v>
                </c:pt>
                <c:pt idx="70">
                  <c:v>0.32968466424682397</c:v>
                </c:pt>
                <c:pt idx="71">
                  <c:v>0.32167876703604636</c:v>
                </c:pt>
                <c:pt idx="72">
                  <c:v>0.28582925772302359</c:v>
                </c:pt>
                <c:pt idx="73">
                  <c:v>0.32085948816996618</c:v>
                </c:pt>
                <c:pt idx="74">
                  <c:v>0.27688243064729195</c:v>
                </c:pt>
                <c:pt idx="75">
                  <c:v>0.2535416498016676</c:v>
                </c:pt>
                <c:pt idx="76">
                  <c:v>0.30536434844528837</c:v>
                </c:pt>
                <c:pt idx="77">
                  <c:v>0.27193053639535825</c:v>
                </c:pt>
                <c:pt idx="78">
                  <c:v>0.29911233993015135</c:v>
                </c:pt>
                <c:pt idx="79">
                  <c:v>0.27103443034126323</c:v>
                </c:pt>
                <c:pt idx="80">
                  <c:v>0.27525433443186703</c:v>
                </c:pt>
                <c:pt idx="81">
                  <c:v>0.26327433628318586</c:v>
                </c:pt>
                <c:pt idx="82">
                  <c:v>0.22698894042097753</c:v>
                </c:pt>
                <c:pt idx="83">
                  <c:v>0.29107906829345587</c:v>
                </c:pt>
                <c:pt idx="84">
                  <c:v>0.26792418276714586</c:v>
                </c:pt>
                <c:pt idx="85">
                  <c:v>0.26090241796200347</c:v>
                </c:pt>
                <c:pt idx="86">
                  <c:v>0.24146292180238432</c:v>
                </c:pt>
                <c:pt idx="87">
                  <c:v>0.26311772562488073</c:v>
                </c:pt>
                <c:pt idx="88">
                  <c:v>0.21320017368649588</c:v>
                </c:pt>
                <c:pt idx="89">
                  <c:v>0.19756738987508218</c:v>
                </c:pt>
                <c:pt idx="90">
                  <c:v>0.28661432586992341</c:v>
                </c:pt>
                <c:pt idx="91">
                  <c:v>0.24796023633123887</c:v>
                </c:pt>
                <c:pt idx="92">
                  <c:v>0.27590875950421834</c:v>
                </c:pt>
                <c:pt idx="93">
                  <c:v>0.26629382662938267</c:v>
                </c:pt>
                <c:pt idx="94">
                  <c:v>0.30907754502021317</c:v>
                </c:pt>
                <c:pt idx="95">
                  <c:v>0.20045819014891181</c:v>
                </c:pt>
                <c:pt idx="96">
                  <c:v>0.21702981651376146</c:v>
                </c:pt>
                <c:pt idx="97">
                  <c:v>0.28041100430891613</c:v>
                </c:pt>
                <c:pt idx="98">
                  <c:v>0.31464352950806251</c:v>
                </c:pt>
                <c:pt idx="99">
                  <c:v>0.28171657708386655</c:v>
                </c:pt>
                <c:pt idx="100">
                  <c:v>0.26900494437577255</c:v>
                </c:pt>
                <c:pt idx="101">
                  <c:v>0.3083192372751038</c:v>
                </c:pt>
                <c:pt idx="102">
                  <c:v>0.30308422301304866</c:v>
                </c:pt>
                <c:pt idx="103">
                  <c:v>0.23590814196242171</c:v>
                </c:pt>
                <c:pt idx="104">
                  <c:v>0.30738714090287278</c:v>
                </c:pt>
                <c:pt idx="105">
                  <c:v>0.31301440329218105</c:v>
                </c:pt>
                <c:pt idx="106">
                  <c:v>0.29649897804443859</c:v>
                </c:pt>
                <c:pt idx="107">
                  <c:v>0.31900699210982103</c:v>
                </c:pt>
                <c:pt idx="108">
                  <c:v>0.28612197442130854</c:v>
                </c:pt>
                <c:pt idx="109">
                  <c:v>0.3595505617977528</c:v>
                </c:pt>
                <c:pt idx="110">
                  <c:v>0.2769810227437346</c:v>
                </c:pt>
                <c:pt idx="111">
                  <c:v>0.32766363534298865</c:v>
                </c:pt>
                <c:pt idx="112">
                  <c:v>0.38709839609834584</c:v>
                </c:pt>
                <c:pt idx="113">
                  <c:v>0.41828087167070216</c:v>
                </c:pt>
                <c:pt idx="114">
                  <c:v>0.35233955510099718</c:v>
                </c:pt>
                <c:pt idx="115">
                  <c:v>0.35822376581493426</c:v>
                </c:pt>
                <c:pt idx="116">
                  <c:v>0.34778911564625853</c:v>
                </c:pt>
                <c:pt idx="117">
                  <c:v>0.40042149631190727</c:v>
                </c:pt>
                <c:pt idx="118">
                  <c:v>0.50283018867924534</c:v>
                </c:pt>
                <c:pt idx="119">
                  <c:v>0.49303397277890904</c:v>
                </c:pt>
                <c:pt idx="120">
                  <c:v>0.50223956075711607</c:v>
                </c:pt>
                <c:pt idx="121">
                  <c:v>0.4838255977496484</c:v>
                </c:pt>
                <c:pt idx="122">
                  <c:v>0.36075544174135721</c:v>
                </c:pt>
                <c:pt idx="123">
                  <c:v>0.41206349206349208</c:v>
                </c:pt>
                <c:pt idx="124">
                  <c:v>0.35492577597840758</c:v>
                </c:pt>
                <c:pt idx="125">
                  <c:v>0.41030835021381951</c:v>
                </c:pt>
                <c:pt idx="126">
                  <c:v>0.47713871435476074</c:v>
                </c:pt>
                <c:pt idx="127">
                  <c:v>0.40242910864925296</c:v>
                </c:pt>
                <c:pt idx="128">
                  <c:v>0.35701708959088557</c:v>
                </c:pt>
                <c:pt idx="129">
                  <c:v>0.4423783783783784</c:v>
                </c:pt>
                <c:pt idx="130">
                  <c:v>0.35157375025714871</c:v>
                </c:pt>
                <c:pt idx="131">
                  <c:v>0.27471903018057836</c:v>
                </c:pt>
                <c:pt idx="132">
                  <c:v>0.30413625304136255</c:v>
                </c:pt>
                <c:pt idx="133">
                  <c:v>0.34172319786977745</c:v>
                </c:pt>
                <c:pt idx="134">
                  <c:v>0.2774019928722089</c:v>
                </c:pt>
                <c:pt idx="135">
                  <c:v>0.30803602597221252</c:v>
                </c:pt>
                <c:pt idx="136">
                  <c:v>0.31220008724734621</c:v>
                </c:pt>
                <c:pt idx="137">
                  <c:v>0.29955156950672646</c:v>
                </c:pt>
                <c:pt idx="138">
                  <c:v>0.26527855042517684</c:v>
                </c:pt>
                <c:pt idx="139">
                  <c:v>0.33036483769031888</c:v>
                </c:pt>
                <c:pt idx="140">
                  <c:v>0.30660630706667691</c:v>
                </c:pt>
                <c:pt idx="141">
                  <c:v>0.32305905476637187</c:v>
                </c:pt>
                <c:pt idx="142">
                  <c:v>0.28453803555814633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4716150799472</c:v>
                </c:pt>
                <c:pt idx="147">
                  <c:v>0.29747482119398627</c:v>
                </c:pt>
                <c:pt idx="148">
                  <c:v>0.30776173285198555</c:v>
                </c:pt>
                <c:pt idx="149">
                  <c:v>0.26911179849756961</c:v>
                </c:pt>
                <c:pt idx="150">
                  <c:v>0.28162124388539483</c:v>
                </c:pt>
                <c:pt idx="151">
                  <c:v>0.31619447359216507</c:v>
                </c:pt>
                <c:pt idx="152">
                  <c:v>0.25031257814453611</c:v>
                </c:pt>
                <c:pt idx="153">
                  <c:v>0.3034696674601457</c:v>
                </c:pt>
                <c:pt idx="154">
                  <c:v>0.31333238877869085</c:v>
                </c:pt>
                <c:pt idx="155">
                  <c:v>0.28731744811683319</c:v>
                </c:pt>
                <c:pt idx="156">
                  <c:v>0.28186727824221353</c:v>
                </c:pt>
                <c:pt idx="157">
                  <c:v>0.30884099779399288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8673617144512</c:v>
                </c:pt>
                <c:pt idx="161">
                  <c:v>0.32338490870426045</c:v>
                </c:pt>
                <c:pt idx="162">
                  <c:v>0.31408653481851934</c:v>
                </c:pt>
                <c:pt idx="163">
                  <c:v>0.28868210344081369</c:v>
                </c:pt>
                <c:pt idx="164">
                  <c:v>0.29403914590747332</c:v>
                </c:pt>
                <c:pt idx="165">
                  <c:v>0.27800407331975557</c:v>
                </c:pt>
                <c:pt idx="166">
                  <c:v>0.27173296605363362</c:v>
                </c:pt>
                <c:pt idx="167">
                  <c:v>0.36492679821769575</c:v>
                </c:pt>
                <c:pt idx="168">
                  <c:v>0.33501039779969144</c:v>
                </c:pt>
                <c:pt idx="169">
                  <c:v>0.33733721077253759</c:v>
                </c:pt>
                <c:pt idx="170">
                  <c:v>0.30391408954873539</c:v>
                </c:pt>
                <c:pt idx="171">
                  <c:v>0.34982864976010969</c:v>
                </c:pt>
                <c:pt idx="172">
                  <c:v>0.3717688062735986</c:v>
                </c:pt>
                <c:pt idx="173">
                  <c:v>0.30609092740581562</c:v>
                </c:pt>
                <c:pt idx="174">
                  <c:v>0.38247227481741952</c:v>
                </c:pt>
                <c:pt idx="175">
                  <c:v>0.36475977415574729</c:v>
                </c:pt>
                <c:pt idx="176">
                  <c:v>0.36091120610356581</c:v>
                </c:pt>
                <c:pt idx="177">
                  <c:v>0.34036669056642427</c:v>
                </c:pt>
                <c:pt idx="178">
                  <c:v>0.32980618124672606</c:v>
                </c:pt>
                <c:pt idx="179">
                  <c:v>0.32689655172413795</c:v>
                </c:pt>
                <c:pt idx="180">
                  <c:v>0.31534601325816242</c:v>
                </c:pt>
                <c:pt idx="181">
                  <c:v>0.36881851400730814</c:v>
                </c:pt>
                <c:pt idx="182">
                  <c:v>0.36449320148331271</c:v>
                </c:pt>
                <c:pt idx="183">
                  <c:v>0.36675917683405773</c:v>
                </c:pt>
                <c:pt idx="184">
                  <c:v>0.29986424656845495</c:v>
                </c:pt>
                <c:pt idx="185">
                  <c:v>0.41690462592804112</c:v>
                </c:pt>
                <c:pt idx="186">
                  <c:v>0.31148679944418711</c:v>
                </c:pt>
                <c:pt idx="187">
                  <c:v>0.29719063545150504</c:v>
                </c:pt>
                <c:pt idx="188">
                  <c:v>0.36241984945637024</c:v>
                </c:pt>
                <c:pt idx="189">
                  <c:v>0.35482275350370979</c:v>
                </c:pt>
                <c:pt idx="190">
                  <c:v>0.31286513362336854</c:v>
                </c:pt>
                <c:pt idx="191">
                  <c:v>0.37703359982109913</c:v>
                </c:pt>
                <c:pt idx="192">
                  <c:v>0.33709635074822786</c:v>
                </c:pt>
                <c:pt idx="193">
                  <c:v>0.29392298435619735</c:v>
                </c:pt>
                <c:pt idx="194">
                  <c:v>0.27998101823605182</c:v>
                </c:pt>
                <c:pt idx="195">
                  <c:v>0.35510976980886444</c:v>
                </c:pt>
                <c:pt idx="196">
                  <c:v>0.34237309971656787</c:v>
                </c:pt>
                <c:pt idx="197">
                  <c:v>0.32542009295673935</c:v>
                </c:pt>
                <c:pt idx="198">
                  <c:v>0.28248066415951184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5964232017094</c:v>
                </c:pt>
                <c:pt idx="202">
                  <c:v>0.30563546025104604</c:v>
                </c:pt>
                <c:pt idx="203">
                  <c:v>0.30268492312399603</c:v>
                </c:pt>
                <c:pt idx="204">
                  <c:v>0.24773460297957303</c:v>
                </c:pt>
                <c:pt idx="205">
                  <c:v>0.2584597906353972</c:v>
                </c:pt>
                <c:pt idx="206">
                  <c:v>0.27547021943573669</c:v>
                </c:pt>
                <c:pt idx="207">
                  <c:v>0.11980376968758069</c:v>
                </c:pt>
                <c:pt idx="208">
                  <c:v>0.20934229026714576</c:v>
                </c:pt>
                <c:pt idx="209">
                  <c:v>0.26201256024536296</c:v>
                </c:pt>
                <c:pt idx="210">
                  <c:v>0.25115900772671818</c:v>
                </c:pt>
                <c:pt idx="211">
                  <c:v>0.23932092004381161</c:v>
                </c:pt>
                <c:pt idx="212">
                  <c:v>0.25676163000360619</c:v>
                </c:pt>
                <c:pt idx="213">
                  <c:v>0.22332199195793381</c:v>
                </c:pt>
                <c:pt idx="214">
                  <c:v>0.18802062673542244</c:v>
                </c:pt>
                <c:pt idx="215">
                  <c:v>9.8218829516539444E-2</c:v>
                </c:pt>
                <c:pt idx="216">
                  <c:v>0.18042422693585483</c:v>
                </c:pt>
                <c:pt idx="217">
                  <c:v>0.25027262813522355</c:v>
                </c:pt>
                <c:pt idx="218">
                  <c:v>0.24025331486245793</c:v>
                </c:pt>
                <c:pt idx="219">
                  <c:v>0.20356355972794329</c:v>
                </c:pt>
                <c:pt idx="220">
                  <c:v>0.1740211311373524</c:v>
                </c:pt>
                <c:pt idx="221">
                  <c:v>0.12866015971606035</c:v>
                </c:pt>
                <c:pt idx="222">
                  <c:v>0.12262066621346022</c:v>
                </c:pt>
                <c:pt idx="223">
                  <c:v>0.18634942688433484</c:v>
                </c:pt>
                <c:pt idx="224">
                  <c:v>0.15000966557123527</c:v>
                </c:pt>
                <c:pt idx="225">
                  <c:v>0.16326768441906539</c:v>
                </c:pt>
                <c:pt idx="226">
                  <c:v>0.148203250171664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6888326707626</c:v>
                </c:pt>
                <c:pt idx="230">
                  <c:v>0.15310913097633419</c:v>
                </c:pt>
                <c:pt idx="231">
                  <c:v>0.13616219809439398</c:v>
                </c:pt>
                <c:pt idx="232">
                  <c:v>0.13738259236067626</c:v>
                </c:pt>
                <c:pt idx="233">
                  <c:v>0.1240768094534712</c:v>
                </c:pt>
                <c:pt idx="234">
                  <c:v>0.11515689757252812</c:v>
                </c:pt>
                <c:pt idx="235">
                  <c:v>0.1277744451109778</c:v>
                </c:pt>
                <c:pt idx="236">
                  <c:v>9.8493516399694891E-2</c:v>
                </c:pt>
                <c:pt idx="237">
                  <c:v>0.14673554627390636</c:v>
                </c:pt>
                <c:pt idx="238">
                  <c:v>0.11020702441034091</c:v>
                </c:pt>
                <c:pt idx="239">
                  <c:v>0.10932398113435723</c:v>
                </c:pt>
                <c:pt idx="240">
                  <c:v>9.3018093018093023E-2</c:v>
                </c:pt>
                <c:pt idx="241">
                  <c:v>0.11652035115722266</c:v>
                </c:pt>
                <c:pt idx="242">
                  <c:v>8.3516483516483511E-2</c:v>
                </c:pt>
                <c:pt idx="243">
                  <c:v>7.0965316289124919E-2</c:v>
                </c:pt>
                <c:pt idx="244">
                  <c:v>0.10919097413318657</c:v>
                </c:pt>
                <c:pt idx="245">
                  <c:v>8.3890715338397009E-2</c:v>
                </c:pt>
                <c:pt idx="246">
                  <c:v>8.0423145551873562E-2</c:v>
                </c:pt>
                <c:pt idx="247">
                  <c:v>7.5770706945648136E-2</c:v>
                </c:pt>
                <c:pt idx="248">
                  <c:v>6.3313313313313316E-2</c:v>
                </c:pt>
                <c:pt idx="249">
                  <c:v>6.1072756240042485E-2</c:v>
                </c:pt>
                <c:pt idx="250">
                  <c:v>5.0283651366683856E-2</c:v>
                </c:pt>
                <c:pt idx="251">
                  <c:v>8.8456865127582024E-2</c:v>
                </c:pt>
                <c:pt idx="252">
                  <c:v>5.9092061881815879E-2</c:v>
                </c:pt>
                <c:pt idx="253">
                  <c:v>6.570900298677286E-2</c:v>
                </c:pt>
                <c:pt idx="254">
                  <c:v>5.2757793764988008E-2</c:v>
                </c:pt>
                <c:pt idx="255">
                  <c:v>5.1274623406720739E-2</c:v>
                </c:pt>
                <c:pt idx="256">
                  <c:v>3.3388067870826495E-2</c:v>
                </c:pt>
                <c:pt idx="257">
                  <c:v>2.8504944735311226E-2</c:v>
                </c:pt>
                <c:pt idx="258">
                  <c:v>4.9605981006263893E-2</c:v>
                </c:pt>
                <c:pt idx="259">
                  <c:v>2.9865229110512131E-2</c:v>
                </c:pt>
                <c:pt idx="260">
                  <c:v>3.6857142857142859E-2</c:v>
                </c:pt>
                <c:pt idx="261">
                  <c:v>2.5176018775336036E-2</c:v>
                </c:pt>
                <c:pt idx="262">
                  <c:v>2.7794746487477092E-2</c:v>
                </c:pt>
                <c:pt idx="263">
                  <c:v>2.9500301023479832E-2</c:v>
                </c:pt>
                <c:pt idx="264">
                  <c:v>1.7608897126969416E-2</c:v>
                </c:pt>
                <c:pt idx="265">
                  <c:v>2.0790200138026224E-2</c:v>
                </c:pt>
                <c:pt idx="266">
                  <c:v>3.0483764082173626E-2</c:v>
                </c:pt>
                <c:pt idx="267">
                  <c:v>2.2596094805354291E-2</c:v>
                </c:pt>
                <c:pt idx="268">
                  <c:v>1.8500797448165868E-2</c:v>
                </c:pt>
                <c:pt idx="269">
                  <c:v>2.3809523809523808E-2</c:v>
                </c:pt>
                <c:pt idx="270">
                  <c:v>1.1314655172413793E-2</c:v>
                </c:pt>
                <c:pt idx="271">
                  <c:v>1.5537101526922047E-2</c:v>
                </c:pt>
                <c:pt idx="272">
                  <c:v>1.9983639125861867E-2</c:v>
                </c:pt>
                <c:pt idx="273">
                  <c:v>1.3790436911973193E-2</c:v>
                </c:pt>
                <c:pt idx="274">
                  <c:v>1.834180195811129E-2</c:v>
                </c:pt>
                <c:pt idx="275">
                  <c:v>1.1748701459312392E-2</c:v>
                </c:pt>
                <c:pt idx="276">
                  <c:v>1.553030303030303E-2</c:v>
                </c:pt>
                <c:pt idx="277">
                  <c:v>8.962868117797695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58059774620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598705501618123E-2</c:v>
                </c:pt>
                <c:pt idx="1">
                  <c:v>3.6778398510242089E-2</c:v>
                </c:pt>
                <c:pt idx="2">
                  <c:v>3.4547502816372512E-2</c:v>
                </c:pt>
                <c:pt idx="3">
                  <c:v>4.6008119079837616E-2</c:v>
                </c:pt>
                <c:pt idx="4">
                  <c:v>5.749718151071026E-2</c:v>
                </c:pt>
                <c:pt idx="5">
                  <c:v>3.1924072476272651E-2</c:v>
                </c:pt>
                <c:pt idx="6">
                  <c:v>4.4626593806921674E-2</c:v>
                </c:pt>
                <c:pt idx="7">
                  <c:v>5.5070719229611799E-2</c:v>
                </c:pt>
                <c:pt idx="8">
                  <c:v>6.3734527258361859E-2</c:v>
                </c:pt>
                <c:pt idx="9">
                  <c:v>5.5045871559633031E-2</c:v>
                </c:pt>
                <c:pt idx="10">
                  <c:v>8.7082262210796915E-2</c:v>
                </c:pt>
                <c:pt idx="11">
                  <c:v>8.0487804878048783E-2</c:v>
                </c:pt>
                <c:pt idx="12">
                  <c:v>4.1697877652933833E-2</c:v>
                </c:pt>
                <c:pt idx="13">
                  <c:v>6.3394683026584867E-2</c:v>
                </c:pt>
                <c:pt idx="14">
                  <c:v>8.5132382892057032E-2</c:v>
                </c:pt>
                <c:pt idx="15">
                  <c:v>0.10736250219645053</c:v>
                </c:pt>
                <c:pt idx="16">
                  <c:v>7.6347031963470313E-2</c:v>
                </c:pt>
                <c:pt idx="17">
                  <c:v>9.0861482063367374E-2</c:v>
                </c:pt>
                <c:pt idx="18">
                  <c:v>7.0395738203957378E-2</c:v>
                </c:pt>
                <c:pt idx="19">
                  <c:v>6.8113450795015046E-2</c:v>
                </c:pt>
                <c:pt idx="20">
                  <c:v>8.2983001279473584E-2</c:v>
                </c:pt>
                <c:pt idx="21">
                  <c:v>8.4548104956268216E-2</c:v>
                </c:pt>
                <c:pt idx="22">
                  <c:v>0.10747116831021226</c:v>
                </c:pt>
                <c:pt idx="23">
                  <c:v>0.10944206008583691</c:v>
                </c:pt>
                <c:pt idx="24">
                  <c:v>0.11605606097860831</c:v>
                </c:pt>
                <c:pt idx="25">
                  <c:v>0.10953935437069279</c:v>
                </c:pt>
                <c:pt idx="26">
                  <c:v>8.4062582869265448E-2</c:v>
                </c:pt>
                <c:pt idx="27">
                  <c:v>0.10075250836120402</c:v>
                </c:pt>
                <c:pt idx="28">
                  <c:v>0.12167591352592309</c:v>
                </c:pt>
                <c:pt idx="29">
                  <c:v>0.13119629874421679</c:v>
                </c:pt>
                <c:pt idx="30">
                  <c:v>0.15255093450075771</c:v>
                </c:pt>
                <c:pt idx="31">
                  <c:v>0.15282301845819762</c:v>
                </c:pt>
                <c:pt idx="32">
                  <c:v>0.20034642032332564</c:v>
                </c:pt>
                <c:pt idx="33">
                  <c:v>0.1731457190555688</c:v>
                </c:pt>
                <c:pt idx="34">
                  <c:v>0.16202307009760425</c:v>
                </c:pt>
                <c:pt idx="35">
                  <c:v>0.19250780437044746</c:v>
                </c:pt>
                <c:pt idx="36">
                  <c:v>0.18899204244031831</c:v>
                </c:pt>
                <c:pt idx="37">
                  <c:v>0.26291814946619219</c:v>
                </c:pt>
                <c:pt idx="38">
                  <c:v>0.22717520858164481</c:v>
                </c:pt>
                <c:pt idx="39">
                  <c:v>0.22137668626772744</c:v>
                </c:pt>
                <c:pt idx="40">
                  <c:v>0.17895575926664009</c:v>
                </c:pt>
                <c:pt idx="41">
                  <c:v>0.21133026842651639</c:v>
                </c:pt>
                <c:pt idx="42">
                  <c:v>0.22198980258857368</c:v>
                </c:pt>
                <c:pt idx="43">
                  <c:v>0.20923037256671392</c:v>
                </c:pt>
                <c:pt idx="44">
                  <c:v>0.23325718408079837</c:v>
                </c:pt>
                <c:pt idx="45">
                  <c:v>0.2298507462686567</c:v>
                </c:pt>
                <c:pt idx="46">
                  <c:v>0.23646088700690884</c:v>
                </c:pt>
                <c:pt idx="47">
                  <c:v>0.22341337907375644</c:v>
                </c:pt>
                <c:pt idx="48">
                  <c:v>0.23060708263069141</c:v>
                </c:pt>
                <c:pt idx="49">
                  <c:v>0.26352594773647403</c:v>
                </c:pt>
                <c:pt idx="50">
                  <c:v>0.2515230635335074</c:v>
                </c:pt>
                <c:pt idx="51">
                  <c:v>0.26894306081140545</c:v>
                </c:pt>
                <c:pt idx="52">
                  <c:v>0.25195835399107586</c:v>
                </c:pt>
                <c:pt idx="53">
                  <c:v>0.27604895104895105</c:v>
                </c:pt>
                <c:pt idx="54">
                  <c:v>0.25112107623318386</c:v>
                </c:pt>
                <c:pt idx="55">
                  <c:v>0.26649452408512153</c:v>
                </c:pt>
                <c:pt idx="56">
                  <c:v>0.24524192784774168</c:v>
                </c:pt>
                <c:pt idx="57">
                  <c:v>0.23321805444710472</c:v>
                </c:pt>
                <c:pt idx="58">
                  <c:v>0.23374957235716728</c:v>
                </c:pt>
                <c:pt idx="59">
                  <c:v>0.24865145228215768</c:v>
                </c:pt>
                <c:pt idx="60">
                  <c:v>0.27482717922778621</c:v>
                </c:pt>
                <c:pt idx="61">
                  <c:v>0.22069573985379379</c:v>
                </c:pt>
                <c:pt idx="62">
                  <c:v>0.22147210501640882</c:v>
                </c:pt>
                <c:pt idx="63">
                  <c:v>0.2680873002234061</c:v>
                </c:pt>
                <c:pt idx="64">
                  <c:v>0.23889490790899243</c:v>
                </c:pt>
                <c:pt idx="65">
                  <c:v>0.24659635666347077</c:v>
                </c:pt>
                <c:pt idx="66">
                  <c:v>0.26055194805194803</c:v>
                </c:pt>
                <c:pt idx="67">
                  <c:v>0.23101628813948152</c:v>
                </c:pt>
                <c:pt idx="68">
                  <c:v>0.18476889551554077</c:v>
                </c:pt>
                <c:pt idx="69">
                  <c:v>0.20009354536950422</c:v>
                </c:pt>
                <c:pt idx="70">
                  <c:v>0.2044753086419753</c:v>
                </c:pt>
                <c:pt idx="71">
                  <c:v>0.20762758168506174</c:v>
                </c:pt>
                <c:pt idx="72">
                  <c:v>0.20556173526140156</c:v>
                </c:pt>
                <c:pt idx="73">
                  <c:v>0.23599828986746474</c:v>
                </c:pt>
                <c:pt idx="74">
                  <c:v>0.21541353383458647</c:v>
                </c:pt>
                <c:pt idx="75">
                  <c:v>0.1574353448275862</c:v>
                </c:pt>
                <c:pt idx="76">
                  <c:v>0.22095671981776766</c:v>
                </c:pt>
                <c:pt idx="77">
                  <c:v>0.17819760020423794</c:v>
                </c:pt>
                <c:pt idx="78">
                  <c:v>0.20873142250530785</c:v>
                </c:pt>
                <c:pt idx="79">
                  <c:v>0.2111869031377899</c:v>
                </c:pt>
                <c:pt idx="80">
                  <c:v>0.20111607142857144</c:v>
                </c:pt>
                <c:pt idx="81">
                  <c:v>0.21172387196297723</c:v>
                </c:pt>
                <c:pt idx="82">
                  <c:v>0.13006173485403369</c:v>
                </c:pt>
                <c:pt idx="83">
                  <c:v>0.19534946599972963</c:v>
                </c:pt>
                <c:pt idx="84">
                  <c:v>0.18094970497330712</c:v>
                </c:pt>
                <c:pt idx="85">
                  <c:v>0.16384541679974449</c:v>
                </c:pt>
                <c:pt idx="86">
                  <c:v>0.17479409073081448</c:v>
                </c:pt>
                <c:pt idx="87">
                  <c:v>0.22026328161730135</c:v>
                </c:pt>
                <c:pt idx="88">
                  <c:v>0.1956001912960306</c:v>
                </c:pt>
                <c:pt idx="89">
                  <c:v>0.11071055877051512</c:v>
                </c:pt>
                <c:pt idx="90">
                  <c:v>0.18872460632287535</c:v>
                </c:pt>
                <c:pt idx="91">
                  <c:v>0.17602808425275829</c:v>
                </c:pt>
                <c:pt idx="92">
                  <c:v>0.19569686172399617</c:v>
                </c:pt>
                <c:pt idx="93">
                  <c:v>0.19778913586116725</c:v>
                </c:pt>
                <c:pt idx="94">
                  <c:v>0.26808059384941674</c:v>
                </c:pt>
                <c:pt idx="95">
                  <c:v>0.16194837635303913</c:v>
                </c:pt>
                <c:pt idx="96">
                  <c:v>0.12806389424400991</c:v>
                </c:pt>
                <c:pt idx="97">
                  <c:v>0.18696854830447701</c:v>
                </c:pt>
                <c:pt idx="98">
                  <c:v>0.19630344267289529</c:v>
                </c:pt>
                <c:pt idx="99">
                  <c:v>0.20245959955280007</c:v>
                </c:pt>
                <c:pt idx="100">
                  <c:v>0.18571683309557774</c:v>
                </c:pt>
                <c:pt idx="101">
                  <c:v>0.208680333119795</c:v>
                </c:pt>
                <c:pt idx="102">
                  <c:v>0.21614100185528756</c:v>
                </c:pt>
                <c:pt idx="103">
                  <c:v>0.13660644147682641</c:v>
                </c:pt>
                <c:pt idx="104">
                  <c:v>0.19521849271690944</c:v>
                </c:pt>
                <c:pt idx="105">
                  <c:v>0.18176382660687593</c:v>
                </c:pt>
                <c:pt idx="106">
                  <c:v>0.17286304416904988</c:v>
                </c:pt>
                <c:pt idx="107">
                  <c:v>0.17694369973190349</c:v>
                </c:pt>
                <c:pt idx="108">
                  <c:v>0.17521834061135372</c:v>
                </c:pt>
                <c:pt idx="109">
                  <c:v>0.18495751220394141</c:v>
                </c:pt>
                <c:pt idx="110">
                  <c:v>0.14212815308785154</c:v>
                </c:pt>
                <c:pt idx="111">
                  <c:v>0.16730597446271872</c:v>
                </c:pt>
                <c:pt idx="112">
                  <c:v>0.18039722123263272</c:v>
                </c:pt>
                <c:pt idx="113">
                  <c:v>0.23335274703940984</c:v>
                </c:pt>
                <c:pt idx="114">
                  <c:v>0.21556161065697851</c:v>
                </c:pt>
                <c:pt idx="115">
                  <c:v>0.18534299105240734</c:v>
                </c:pt>
                <c:pt idx="116">
                  <c:v>0.19249956992946843</c:v>
                </c:pt>
                <c:pt idx="117">
                  <c:v>0.19892715979672501</c:v>
                </c:pt>
                <c:pt idx="118">
                  <c:v>0.26669123841617526</c:v>
                </c:pt>
                <c:pt idx="119">
                  <c:v>0.26718568825575617</c:v>
                </c:pt>
                <c:pt idx="120">
                  <c:v>0.29846331433518503</c:v>
                </c:pt>
                <c:pt idx="121">
                  <c:v>0.35259928963513076</c:v>
                </c:pt>
                <c:pt idx="122">
                  <c:v>0.20336545376096649</c:v>
                </c:pt>
                <c:pt idx="123">
                  <c:v>0.25677977204244729</c:v>
                </c:pt>
                <c:pt idx="124">
                  <c:v>0.19443223443223442</c:v>
                </c:pt>
                <c:pt idx="125">
                  <c:v>0.24623756066473848</c:v>
                </c:pt>
                <c:pt idx="126">
                  <c:v>0.28577131451382948</c:v>
                </c:pt>
                <c:pt idx="127">
                  <c:v>0.25883739198743128</c:v>
                </c:pt>
                <c:pt idx="128">
                  <c:v>0.22370315082369249</c:v>
                </c:pt>
                <c:pt idx="129">
                  <c:v>0.28067162755199387</c:v>
                </c:pt>
                <c:pt idx="130">
                  <c:v>0.23409160774669535</c:v>
                </c:pt>
                <c:pt idx="131">
                  <c:v>0.15410762160091918</c:v>
                </c:pt>
                <c:pt idx="132">
                  <c:v>0.20402462366147639</c:v>
                </c:pt>
                <c:pt idx="133">
                  <c:v>0.22571648964576041</c:v>
                </c:pt>
                <c:pt idx="134">
                  <c:v>0.177125</c:v>
                </c:pt>
                <c:pt idx="135">
                  <c:v>0.20710163702744083</c:v>
                </c:pt>
                <c:pt idx="136">
                  <c:v>0.23947573031211819</c:v>
                </c:pt>
                <c:pt idx="137">
                  <c:v>0.22280664843256889</c:v>
                </c:pt>
                <c:pt idx="138">
                  <c:v>0.15922772384619557</c:v>
                </c:pt>
                <c:pt idx="139">
                  <c:v>0.22020725388601037</c:v>
                </c:pt>
                <c:pt idx="140">
                  <c:v>0.20255764643519747</c:v>
                </c:pt>
                <c:pt idx="141">
                  <c:v>0.19516394669860757</c:v>
                </c:pt>
                <c:pt idx="142">
                  <c:v>0.19128167818600703</c:v>
                </c:pt>
                <c:pt idx="143">
                  <c:v>0.2228393389325386</c:v>
                </c:pt>
                <c:pt idx="144">
                  <c:v>0.20517097581317764</c:v>
                </c:pt>
                <c:pt idx="145">
                  <c:v>0.14752635395169836</c:v>
                </c:pt>
                <c:pt idx="146">
                  <c:v>0.22086923941551143</c:v>
                </c:pt>
                <c:pt idx="147">
                  <c:v>0.18339350180505415</c:v>
                </c:pt>
                <c:pt idx="148">
                  <c:v>0.21852714820306432</c:v>
                </c:pt>
                <c:pt idx="149">
                  <c:v>0.18993268949370792</c:v>
                </c:pt>
                <c:pt idx="150">
                  <c:v>0.20347976307996052</c:v>
                </c:pt>
                <c:pt idx="151">
                  <c:v>0.20190746753246752</c:v>
                </c:pt>
                <c:pt idx="152">
                  <c:v>0.1486323305507429</c:v>
                </c:pt>
                <c:pt idx="153">
                  <c:v>0.19865803977953511</c:v>
                </c:pt>
                <c:pt idx="154">
                  <c:v>0.21576423810080692</c:v>
                </c:pt>
                <c:pt idx="155">
                  <c:v>0.19214676536852268</c:v>
                </c:pt>
                <c:pt idx="156">
                  <c:v>0.18779210541134073</c:v>
                </c:pt>
                <c:pt idx="157">
                  <c:v>0.235719201651755</c:v>
                </c:pt>
                <c:pt idx="158">
                  <c:v>0.1768885564697083</c:v>
                </c:pt>
                <c:pt idx="159">
                  <c:v>0.16412760762248527</c:v>
                </c:pt>
                <c:pt idx="160">
                  <c:v>0.21520632513809163</c:v>
                </c:pt>
                <c:pt idx="161">
                  <c:v>0.20446355922352669</c:v>
                </c:pt>
                <c:pt idx="162">
                  <c:v>0.20433939848683799</c:v>
                </c:pt>
                <c:pt idx="163">
                  <c:v>0.18871681415929203</c:v>
                </c:pt>
                <c:pt idx="164">
                  <c:v>0.21642679363705228</c:v>
                </c:pt>
                <c:pt idx="165">
                  <c:v>0.1983230040102078</c:v>
                </c:pt>
                <c:pt idx="166">
                  <c:v>0.17270088967124983</c:v>
                </c:pt>
                <c:pt idx="167">
                  <c:v>0.23276247207743858</c:v>
                </c:pt>
                <c:pt idx="168">
                  <c:v>0.20133813690169841</c:v>
                </c:pt>
                <c:pt idx="169">
                  <c:v>0.21535485184808065</c:v>
                </c:pt>
                <c:pt idx="170">
                  <c:v>0.1907954339554267</c:v>
                </c:pt>
                <c:pt idx="171">
                  <c:v>0.24622752326737146</c:v>
                </c:pt>
                <c:pt idx="172">
                  <c:v>0.22522922212363206</c:v>
                </c:pt>
                <c:pt idx="173">
                  <c:v>0.17899751939205419</c:v>
                </c:pt>
                <c:pt idx="174">
                  <c:v>0.23989405052974735</c:v>
                </c:pt>
                <c:pt idx="175">
                  <c:v>0.20214558757038925</c:v>
                </c:pt>
                <c:pt idx="176">
                  <c:v>0.22196786637839672</c:v>
                </c:pt>
                <c:pt idx="177">
                  <c:v>0.20401745351625458</c:v>
                </c:pt>
                <c:pt idx="178">
                  <c:v>0.21822033898305085</c:v>
                </c:pt>
                <c:pt idx="179">
                  <c:v>0.21233806292412091</c:v>
                </c:pt>
                <c:pt idx="180">
                  <c:v>0.17163078737835447</c:v>
                </c:pt>
                <c:pt idx="181">
                  <c:v>0.22152453271028039</c:v>
                </c:pt>
                <c:pt idx="182">
                  <c:v>0.20948339627048701</c:v>
                </c:pt>
                <c:pt idx="183">
                  <c:v>0.191311093871218</c:v>
                </c:pt>
                <c:pt idx="184">
                  <c:v>0.16767727207875588</c:v>
                </c:pt>
                <c:pt idx="185">
                  <c:v>0.26225073427113926</c:v>
                </c:pt>
                <c:pt idx="186">
                  <c:v>0.16873889875666073</c:v>
                </c:pt>
                <c:pt idx="187">
                  <c:v>0.1261846153846154</c:v>
                </c:pt>
                <c:pt idx="188">
                  <c:v>0.17478921246187884</c:v>
                </c:pt>
                <c:pt idx="189">
                  <c:v>0.16111127600842956</c:v>
                </c:pt>
                <c:pt idx="190">
                  <c:v>0.12284634992782777</c:v>
                </c:pt>
                <c:pt idx="191">
                  <c:v>0.16476624857468644</c:v>
                </c:pt>
                <c:pt idx="192">
                  <c:v>0.21837014209895567</c:v>
                </c:pt>
                <c:pt idx="193">
                  <c:v>0.15464824120603016</c:v>
                </c:pt>
                <c:pt idx="194">
                  <c:v>0.11805445413692836</c:v>
                </c:pt>
                <c:pt idx="195">
                  <c:v>0.15433179326771315</c:v>
                </c:pt>
                <c:pt idx="196">
                  <c:v>0.13691344517383905</c:v>
                </c:pt>
                <c:pt idx="197">
                  <c:v>0.12997544585164125</c:v>
                </c:pt>
                <c:pt idx="198">
                  <c:v>0.13214610212611302</c:v>
                </c:pt>
                <c:pt idx="199">
                  <c:v>0.20483811626195733</c:v>
                </c:pt>
                <c:pt idx="200">
                  <c:v>0.12495295445991721</c:v>
                </c:pt>
                <c:pt idx="201">
                  <c:v>9.4960782770651342E-2</c:v>
                </c:pt>
                <c:pt idx="202">
                  <c:v>0.12921669525443111</c:v>
                </c:pt>
                <c:pt idx="203">
                  <c:v>0.10660813157291223</c:v>
                </c:pt>
                <c:pt idx="204">
                  <c:v>0.10061443932411675</c:v>
                </c:pt>
                <c:pt idx="205">
                  <c:v>0.11822831899558242</c:v>
                </c:pt>
                <c:pt idx="206">
                  <c:v>0.18394057304563141</c:v>
                </c:pt>
                <c:pt idx="207">
                  <c:v>0.12493617021276596</c:v>
                </c:pt>
                <c:pt idx="208">
                  <c:v>8.12284500040093E-2</c:v>
                </c:pt>
                <c:pt idx="209">
                  <c:v>0.10679371364930083</c:v>
                </c:pt>
                <c:pt idx="210">
                  <c:v>9.1184111012462599E-2</c:v>
                </c:pt>
                <c:pt idx="211">
                  <c:v>7.3710147540491003E-2</c:v>
                </c:pt>
                <c:pt idx="212">
                  <c:v>0.14608313349320542</c:v>
                </c:pt>
                <c:pt idx="213">
                  <c:v>0.15559742502747684</c:v>
                </c:pt>
                <c:pt idx="214">
                  <c:v>0.1430296756383713</c:v>
                </c:pt>
                <c:pt idx="215">
                  <c:v>8.9205288391689674E-2</c:v>
                </c:pt>
                <c:pt idx="216">
                  <c:v>5.2095948328977841E-2</c:v>
                </c:pt>
                <c:pt idx="217">
                  <c:v>7.7226556749595165E-2</c:v>
                </c:pt>
                <c:pt idx="218">
                  <c:v>6.6398100856053521E-2</c:v>
                </c:pt>
                <c:pt idx="219">
                  <c:v>8.1255393559522188E-2</c:v>
                </c:pt>
                <c:pt idx="220">
                  <c:v>0.12249253094323517</c:v>
                </c:pt>
                <c:pt idx="221">
                  <c:v>6.5635255508673232E-2</c:v>
                </c:pt>
                <c:pt idx="222">
                  <c:v>4.8184126283254219E-2</c:v>
                </c:pt>
                <c:pt idx="223">
                  <c:v>6.4301552106430154E-2</c:v>
                </c:pt>
                <c:pt idx="224">
                  <c:v>5.2856942299592868E-2</c:v>
                </c:pt>
                <c:pt idx="225">
                  <c:v>4.6695349009717377E-2</c:v>
                </c:pt>
                <c:pt idx="226">
                  <c:v>6.8048221580153431E-2</c:v>
                </c:pt>
                <c:pt idx="227">
                  <c:v>9.8756067961165053E-2</c:v>
                </c:pt>
                <c:pt idx="228">
                  <c:v>5.5458768873403022E-2</c:v>
                </c:pt>
                <c:pt idx="229">
                  <c:v>4.1142439901145807E-2</c:v>
                </c:pt>
                <c:pt idx="230">
                  <c:v>4.7243327488797976E-2</c:v>
                </c:pt>
                <c:pt idx="231">
                  <c:v>4.2930202405820066E-2</c:v>
                </c:pt>
                <c:pt idx="232">
                  <c:v>3.7601039260969978E-2</c:v>
                </c:pt>
                <c:pt idx="233">
                  <c:v>5.5293655470438026E-2</c:v>
                </c:pt>
                <c:pt idx="234">
                  <c:v>8.5281385281385277E-2</c:v>
                </c:pt>
                <c:pt idx="235">
                  <c:v>6.3070026279177613E-2</c:v>
                </c:pt>
                <c:pt idx="236">
                  <c:v>3.134866307172194E-2</c:v>
                </c:pt>
                <c:pt idx="237">
                  <c:v>4.0964321397492509E-2</c:v>
                </c:pt>
                <c:pt idx="238">
                  <c:v>3.5925144022614236E-2</c:v>
                </c:pt>
                <c:pt idx="239">
                  <c:v>3.1613397395724531E-2</c:v>
                </c:pt>
                <c:pt idx="240">
                  <c:v>4.5484696294892449E-2</c:v>
                </c:pt>
                <c:pt idx="241">
                  <c:v>9.6061643835616439E-2</c:v>
                </c:pt>
                <c:pt idx="242">
                  <c:v>3.2075228648718278E-2</c:v>
                </c:pt>
                <c:pt idx="243">
                  <c:v>2.3982558139534885E-2</c:v>
                </c:pt>
                <c:pt idx="244">
                  <c:v>3.1606060606060603E-2</c:v>
                </c:pt>
                <c:pt idx="245">
                  <c:v>2.8285603578850963E-2</c:v>
                </c:pt>
                <c:pt idx="246">
                  <c:v>2.3709505161979352E-2</c:v>
                </c:pt>
                <c:pt idx="247">
                  <c:v>3.6349574632637278E-2</c:v>
                </c:pt>
                <c:pt idx="248">
                  <c:v>5.46875E-2</c:v>
                </c:pt>
                <c:pt idx="249">
                  <c:v>2.403386590195275E-2</c:v>
                </c:pt>
                <c:pt idx="250">
                  <c:v>1.762178693657613E-2</c:v>
                </c:pt>
                <c:pt idx="251">
                  <c:v>2.0048293829827795E-2</c:v>
                </c:pt>
                <c:pt idx="252">
                  <c:v>1.8460429060753559E-2</c:v>
                </c:pt>
                <c:pt idx="253">
                  <c:v>1.7520837027841817E-2</c:v>
                </c:pt>
                <c:pt idx="254">
                  <c:v>2.1709633649932156E-2</c:v>
                </c:pt>
                <c:pt idx="255">
                  <c:v>4.0717330589445835E-2</c:v>
                </c:pt>
                <c:pt idx="256">
                  <c:v>1.5320521435290956E-2</c:v>
                </c:pt>
                <c:pt idx="257">
                  <c:v>1.089260604025437E-2</c:v>
                </c:pt>
                <c:pt idx="258">
                  <c:v>1.3826901198914851E-2</c:v>
                </c:pt>
                <c:pt idx="259">
                  <c:v>1.1810508408035072E-2</c:v>
                </c:pt>
                <c:pt idx="260">
                  <c:v>9.7450790577605674E-3</c:v>
                </c:pt>
                <c:pt idx="261">
                  <c:v>1.2088126340417235E-2</c:v>
                </c:pt>
                <c:pt idx="262">
                  <c:v>2.2470215653747551E-2</c:v>
                </c:pt>
                <c:pt idx="263">
                  <c:v>1.2552301255230125E-2</c:v>
                </c:pt>
                <c:pt idx="264">
                  <c:v>8.3905415713196041E-3</c:v>
                </c:pt>
                <c:pt idx="265">
                  <c:v>1.0377358490566037E-2</c:v>
                </c:pt>
                <c:pt idx="266">
                  <c:v>8.6232157059734603E-3</c:v>
                </c:pt>
                <c:pt idx="267">
                  <c:v>9.1887953367875645E-3</c:v>
                </c:pt>
                <c:pt idx="268">
                  <c:v>9.0845235307890418E-3</c:v>
                </c:pt>
                <c:pt idx="269">
                  <c:v>1.5824808184143224E-2</c:v>
                </c:pt>
                <c:pt idx="270">
                  <c:v>9.0328609250895503E-3</c:v>
                </c:pt>
                <c:pt idx="271">
                  <c:v>6.2408527324441495E-3</c:v>
                </c:pt>
                <c:pt idx="272">
                  <c:v>9.2496542185338867E-3</c:v>
                </c:pt>
                <c:pt idx="273">
                  <c:v>7.2138352761322378E-3</c:v>
                </c:pt>
                <c:pt idx="274">
                  <c:v>6.9785958503114608E-3</c:v>
                </c:pt>
                <c:pt idx="275">
                  <c:v>7.6385153308230229E-3</c:v>
                </c:pt>
                <c:pt idx="276">
                  <c:v>1.1307280301527474E-2</c:v>
                </c:pt>
                <c:pt idx="277">
                  <c:v>7.995079950799507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5</c:f>
              <c:numCache>
                <c:formatCode>m/d/yyyy</c:formatCode>
                <c:ptCount val="54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</c:numCache>
            </c:numRef>
          </c:cat>
          <c:val>
            <c:numRef>
              <c:f>List1!$B$2:$B$55</c:f>
              <c:numCache>
                <c:formatCode>General</c:formatCode>
                <c:ptCount val="54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5</c:f>
              <c:numCache>
                <c:formatCode>m/d/yyyy</c:formatCode>
                <c:ptCount val="54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</c:numCache>
            </c:numRef>
          </c:cat>
          <c:val>
            <c:numRef>
              <c:f>List1!$C$2:$C$55</c:f>
              <c:numCache>
                <c:formatCode>General</c:formatCode>
                <c:ptCount val="54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62.66522347698202</c:v>
                </c:pt>
                <c:pt idx="1">
                  <c:v>320.66311510377898</c:v>
                </c:pt>
                <c:pt idx="2">
                  <c:v>437.54032528179198</c:v>
                </c:pt>
                <c:pt idx="3">
                  <c:v>440.36089143993399</c:v>
                </c:pt>
                <c:pt idx="4">
                  <c:v>400.69667984106098</c:v>
                </c:pt>
                <c:pt idx="5">
                  <c:v>337.410226667747</c:v>
                </c:pt>
                <c:pt idx="6">
                  <c:v>280.646332735138</c:v>
                </c:pt>
                <c:pt idx="7">
                  <c:v>210.30846416646901</c:v>
                </c:pt>
                <c:pt idx="8">
                  <c:v>153.89714100362701</c:v>
                </c:pt>
                <c:pt idx="9">
                  <c:v>140.323166367569</c:v>
                </c:pt>
                <c:pt idx="10">
                  <c:v>108.768082473354</c:v>
                </c:pt>
                <c:pt idx="11">
                  <c:v>94.488966297760001</c:v>
                </c:pt>
                <c:pt idx="12">
                  <c:v>81.091277046585006</c:v>
                </c:pt>
                <c:pt idx="13">
                  <c:v>57.997891626795997</c:v>
                </c:pt>
                <c:pt idx="14">
                  <c:v>42.308492372130999</c:v>
                </c:pt>
                <c:pt idx="15">
                  <c:v>24.503668498859</c:v>
                </c:pt>
                <c:pt idx="16">
                  <c:v>16.57082617908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483.09480735594298</c:v>
                </c:pt>
                <c:pt idx="1">
                  <c:v>613.99549661620995</c:v>
                </c:pt>
                <c:pt idx="2">
                  <c:v>773.90187824360498</c:v>
                </c:pt>
                <c:pt idx="3">
                  <c:v>729.51816794045806</c:v>
                </c:pt>
                <c:pt idx="4">
                  <c:v>588.99058940317002</c:v>
                </c:pt>
                <c:pt idx="5">
                  <c:v>467.21669127566201</c:v>
                </c:pt>
                <c:pt idx="6">
                  <c:v>364.19647355793501</c:v>
                </c:pt>
                <c:pt idx="7">
                  <c:v>273.17861130246803</c:v>
                </c:pt>
                <c:pt idx="8">
                  <c:v>196.53857069449799</c:v>
                </c:pt>
                <c:pt idx="9">
                  <c:v>201.539552137106</c:v>
                </c:pt>
                <c:pt idx="10">
                  <c:v>172.408835233914</c:v>
                </c:pt>
                <c:pt idx="11">
                  <c:v>151.27968863889501</c:v>
                </c:pt>
                <c:pt idx="12">
                  <c:v>119.89853008652899</c:v>
                </c:pt>
                <c:pt idx="13">
                  <c:v>76.890089680098995</c:v>
                </c:pt>
                <c:pt idx="14">
                  <c:v>67.388224939143996</c:v>
                </c:pt>
                <c:pt idx="15">
                  <c:v>46.134053808059001</c:v>
                </c:pt>
                <c:pt idx="16">
                  <c:v>33.38155112940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404.34783640103097</c:v>
                </c:pt>
                <c:pt idx="1">
                  <c:v>510.624064448941</c:v>
                </c:pt>
                <c:pt idx="2">
                  <c:v>679.52735545365397</c:v>
                </c:pt>
                <c:pt idx="3">
                  <c:v>711.90839368700199</c:v>
                </c:pt>
                <c:pt idx="4">
                  <c:v>718.78788166331697</c:v>
                </c:pt>
                <c:pt idx="5">
                  <c:v>615.12111457194101</c:v>
                </c:pt>
                <c:pt idx="6">
                  <c:v>469.58436031436798</c:v>
                </c:pt>
                <c:pt idx="7">
                  <c:v>358.08921035339199</c:v>
                </c:pt>
                <c:pt idx="8">
                  <c:v>262.132214269955</c:v>
                </c:pt>
                <c:pt idx="9">
                  <c:v>236.63066401292301</c:v>
                </c:pt>
                <c:pt idx="10">
                  <c:v>170.68246892962199</c:v>
                </c:pt>
                <c:pt idx="11">
                  <c:v>151.111511755621</c:v>
                </c:pt>
                <c:pt idx="12">
                  <c:v>120.03520400054001</c:v>
                </c:pt>
                <c:pt idx="13">
                  <c:v>79.825782897592006</c:v>
                </c:pt>
                <c:pt idx="14">
                  <c:v>63.931793435069999</c:v>
                </c:pt>
                <c:pt idx="15">
                  <c:v>48.156415834209</c:v>
                </c:pt>
                <c:pt idx="16">
                  <c:v>41.51415158121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96.48157104974098</c:v>
                </c:pt>
                <c:pt idx="1">
                  <c:v>499.27811668765202</c:v>
                </c:pt>
                <c:pt idx="2">
                  <c:v>651.57264688888802</c:v>
                </c:pt>
                <c:pt idx="3">
                  <c:v>648.58647963004103</c:v>
                </c:pt>
                <c:pt idx="4">
                  <c:v>590.17523824863997</c:v>
                </c:pt>
                <c:pt idx="5">
                  <c:v>490.319614911109</c:v>
                </c:pt>
                <c:pt idx="6">
                  <c:v>382.95332846799198</c:v>
                </c:pt>
                <c:pt idx="7">
                  <c:v>289.43199931589601</c:v>
                </c:pt>
                <c:pt idx="8">
                  <c:v>210.61528166570201</c:v>
                </c:pt>
                <c:pt idx="9">
                  <c:v>199.21355213191899</c:v>
                </c:pt>
                <c:pt idx="10">
                  <c:v>155.41643233548501</c:v>
                </c:pt>
                <c:pt idx="11">
                  <c:v>136.63977457151799</c:v>
                </c:pt>
                <c:pt idx="12">
                  <c:v>109.990494034226</c:v>
                </c:pt>
                <c:pt idx="13">
                  <c:v>73.161097841770001</c:v>
                </c:pt>
                <c:pt idx="14">
                  <c:v>59.632855260020001</c:v>
                </c:pt>
                <c:pt idx="15">
                  <c:v>41.353892039194001</c:v>
                </c:pt>
                <c:pt idx="16">
                  <c:v>32.169165470313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92.60043448859</c:v>
                </c:pt>
                <c:pt idx="1">
                  <c:v>593.03235341196103</c:v>
                </c:pt>
                <c:pt idx="2">
                  <c:v>759.23839564214404</c:v>
                </c:pt>
                <c:pt idx="3">
                  <c:v>790.25193666434996</c:v>
                </c:pt>
                <c:pt idx="4">
                  <c:v>746.31530819601198</c:v>
                </c:pt>
                <c:pt idx="5">
                  <c:v>629.28801450450703</c:v>
                </c:pt>
                <c:pt idx="6">
                  <c:v>481.69570343317702</c:v>
                </c:pt>
                <c:pt idx="7">
                  <c:v>360.90267999417199</c:v>
                </c:pt>
                <c:pt idx="8">
                  <c:v>263.87206535886497</c:v>
                </c:pt>
                <c:pt idx="9">
                  <c:v>208.451362797038</c:v>
                </c:pt>
                <c:pt idx="10">
                  <c:v>165.48653555386099</c:v>
                </c:pt>
                <c:pt idx="11">
                  <c:v>138.58446125348999</c:v>
                </c:pt>
                <c:pt idx="12">
                  <c:v>106.48698809552801</c:v>
                </c:pt>
                <c:pt idx="13">
                  <c:v>73.632631291045996</c:v>
                </c:pt>
                <c:pt idx="14">
                  <c:v>49.58989521086</c:v>
                </c:pt>
                <c:pt idx="15">
                  <c:v>31.574195575183001</c:v>
                </c:pt>
                <c:pt idx="16">
                  <c:v>22.65978818284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16768051016021"/>
          <c:y val="0.20299240246086112"/>
          <c:w val="0.78647734453406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6.29026</c:v>
                </c:pt>
                <c:pt idx="1">
                  <c:v>65.935829999999996</c:v>
                </c:pt>
                <c:pt idx="2">
                  <c:v>56.18571</c:v>
                </c:pt>
                <c:pt idx="3">
                  <c:v>29.1066</c:v>
                </c:pt>
                <c:pt idx="4">
                  <c:v>16.34496</c:v>
                </c:pt>
                <c:pt idx="5">
                  <c:v>16.040569999999999</c:v>
                </c:pt>
                <c:pt idx="6">
                  <c:v>13.79313</c:v>
                </c:pt>
                <c:pt idx="7">
                  <c:v>12.16595</c:v>
                </c:pt>
                <c:pt idx="8">
                  <c:v>10.176299999999999</c:v>
                </c:pt>
                <c:pt idx="9">
                  <c:v>7.9158650000000002</c:v>
                </c:pt>
                <c:pt idx="10">
                  <c:v>5.9535619999999998</c:v>
                </c:pt>
                <c:pt idx="11">
                  <c:v>1.91690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2.7576</c:v>
                </c:pt>
                <c:pt idx="1">
                  <c:v>12.131360000000001</c:v>
                </c:pt>
                <c:pt idx="2">
                  <c:v>23.221789999999999</c:v>
                </c:pt>
                <c:pt idx="3">
                  <c:v>42.785440000000001</c:v>
                </c:pt>
                <c:pt idx="4">
                  <c:v>48.778269999999999</c:v>
                </c:pt>
                <c:pt idx="5">
                  <c:v>44.364690000000003</c:v>
                </c:pt>
                <c:pt idx="6">
                  <c:v>42.831760000000003</c:v>
                </c:pt>
                <c:pt idx="7">
                  <c:v>40.751950000000001</c:v>
                </c:pt>
                <c:pt idx="8">
                  <c:v>32.781390000000002</c:v>
                </c:pt>
                <c:pt idx="9">
                  <c:v>20.413640000000001</c:v>
                </c:pt>
                <c:pt idx="10">
                  <c:v>12.106170000000001</c:v>
                </c:pt>
                <c:pt idx="11">
                  <c:v>1.83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9.2684700000000007</c:v>
                </c:pt>
                <c:pt idx="1">
                  <c:v>4.7764819999999997</c:v>
                </c:pt>
                <c:pt idx="2">
                  <c:v>3.3814280000000001</c:v>
                </c:pt>
                <c:pt idx="3">
                  <c:v>4.6799759999999999</c:v>
                </c:pt>
                <c:pt idx="4">
                  <c:v>6.7127660000000002</c:v>
                </c:pt>
                <c:pt idx="5">
                  <c:v>8.8624869999999998</c:v>
                </c:pt>
                <c:pt idx="6">
                  <c:v>9.7810249999999996</c:v>
                </c:pt>
                <c:pt idx="7">
                  <c:v>10.30993</c:v>
                </c:pt>
                <c:pt idx="8">
                  <c:v>9.9914810000000003</c:v>
                </c:pt>
                <c:pt idx="9">
                  <c:v>10.844139999999999</c:v>
                </c:pt>
                <c:pt idx="10">
                  <c:v>11.800850000000001</c:v>
                </c:pt>
                <c:pt idx="11">
                  <c:v>11.7320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4.2345397</c:v>
                </c:pt>
                <c:pt idx="1">
                  <c:v>1.9046938</c:v>
                </c:pt>
                <c:pt idx="2">
                  <c:v>1.637265</c:v>
                </c:pt>
                <c:pt idx="3">
                  <c:v>1.850932</c:v>
                </c:pt>
                <c:pt idx="4">
                  <c:v>2.2610378</c:v>
                </c:pt>
                <c:pt idx="5">
                  <c:v>2.7990259000000002</c:v>
                </c:pt>
                <c:pt idx="6">
                  <c:v>3.2669014000000001</c:v>
                </c:pt>
                <c:pt idx="7">
                  <c:v>4.3411067000000001</c:v>
                </c:pt>
                <c:pt idx="8">
                  <c:v>6.5622547999999998</c:v>
                </c:pt>
                <c:pt idx="9">
                  <c:v>9.6946808000000004</c:v>
                </c:pt>
                <c:pt idx="10">
                  <c:v>11.946904999999999</c:v>
                </c:pt>
                <c:pt idx="11">
                  <c:v>3.1392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4.8647155</c:v>
                </c:pt>
                <c:pt idx="1">
                  <c:v>7.6408968000000002</c:v>
                </c:pt>
                <c:pt idx="2">
                  <c:v>6.1102026</c:v>
                </c:pt>
                <c:pt idx="3">
                  <c:v>4.4488696000000001</c:v>
                </c:pt>
                <c:pt idx="4">
                  <c:v>3.8704003999999999</c:v>
                </c:pt>
                <c:pt idx="5">
                  <c:v>3.6760918</c:v>
                </c:pt>
                <c:pt idx="6">
                  <c:v>3.2972885000000001</c:v>
                </c:pt>
                <c:pt idx="7">
                  <c:v>3.0427629999999999</c:v>
                </c:pt>
                <c:pt idx="8">
                  <c:v>3.7102005</c:v>
                </c:pt>
                <c:pt idx="9">
                  <c:v>5.4060081999999996</c:v>
                </c:pt>
                <c:pt idx="10">
                  <c:v>6.6711548000000001</c:v>
                </c:pt>
                <c:pt idx="11">
                  <c:v>5.2207204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</c:v>
                </c:pt>
                <c:pt idx="1">
                  <c:v>80 a více let</c:v>
                </c:pt>
                <c:pt idx="2">
                  <c:v>70–79 let</c:v>
                </c:pt>
                <c:pt idx="3">
                  <c:v>65–69 let</c:v>
                </c:pt>
                <c:pt idx="4">
                  <c:v>60–64 let</c:v>
                </c:pt>
                <c:pt idx="5">
                  <c:v>55–59 let</c:v>
                </c:pt>
                <c:pt idx="6">
                  <c:v>50–54 let</c:v>
                </c:pt>
                <c:pt idx="7">
                  <c:v>45–49 let</c:v>
                </c:pt>
                <c:pt idx="8">
                  <c:v>40–44 let</c:v>
                </c:pt>
                <c:pt idx="9">
                  <c:v>35–39 let</c:v>
                </c:pt>
                <c:pt idx="10">
                  <c:v>30–34 let</c:v>
                </c:pt>
                <c:pt idx="11">
                  <c:v>do 30 let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42.5844138</c:v>
                </c:pt>
                <c:pt idx="1">
                  <c:v>7.6107310000000004</c:v>
                </c:pt>
                <c:pt idx="2">
                  <c:v>9.4636057400000002</c:v>
                </c:pt>
                <c:pt idx="3">
                  <c:v>17.1281851</c:v>
                </c:pt>
                <c:pt idx="4">
                  <c:v>22.032567799999999</c:v>
                </c:pt>
                <c:pt idx="5">
                  <c:v>24.257129299999999</c:v>
                </c:pt>
                <c:pt idx="6">
                  <c:v>27.029893699999999</c:v>
                </c:pt>
                <c:pt idx="7">
                  <c:v>29.388297600000001</c:v>
                </c:pt>
                <c:pt idx="8">
                  <c:v>36.778380900000002</c:v>
                </c:pt>
                <c:pt idx="9">
                  <c:v>45.725664100000003</c:v>
                </c:pt>
                <c:pt idx="10">
                  <c:v>51.521355999999997</c:v>
                </c:pt>
                <c:pt idx="11">
                  <c:v>76.1535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Moravskoslezský kraj</c:v>
                </c:pt>
                <c:pt idx="7">
                  <c:v>Kraj Vysočina</c:v>
                </c:pt>
                <c:pt idx="8">
                  <c:v>Hlavní město Praha</c:v>
                </c:pt>
                <c:pt idx="9">
                  <c:v>Střed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6.053134665828296</c:v>
                </c:pt>
                <c:pt idx="1">
                  <c:v>55.582335638606608</c:v>
                </c:pt>
                <c:pt idx="2">
                  <c:v>46.388206388206392</c:v>
                </c:pt>
                <c:pt idx="3">
                  <c:v>43.394252773806315</c:v>
                </c:pt>
                <c:pt idx="4">
                  <c:v>42.156479582650853</c:v>
                </c:pt>
                <c:pt idx="5">
                  <c:v>36.748875261696533</c:v>
                </c:pt>
                <c:pt idx="6">
                  <c:v>36.03820803463686</c:v>
                </c:pt>
                <c:pt idx="7">
                  <c:v>34.399247655164189</c:v>
                </c:pt>
                <c:pt idx="8">
                  <c:v>32.974141728398791</c:v>
                </c:pt>
                <c:pt idx="9">
                  <c:v>30.994297049342922</c:v>
                </c:pt>
                <c:pt idx="10">
                  <c:v>29.838488913222008</c:v>
                </c:pt>
                <c:pt idx="11">
                  <c:v>28.220722295147329</c:v>
                </c:pt>
                <c:pt idx="12">
                  <c:v>27.461350691619202</c:v>
                </c:pt>
                <c:pt idx="13">
                  <c:v>16.225694171835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8.937193816187033</c:v>
                </c:pt>
                <c:pt idx="1">
                  <c:v>65.306122448979593</c:v>
                </c:pt>
                <c:pt idx="2">
                  <c:v>53.105593427911863</c:v>
                </c:pt>
                <c:pt idx="3">
                  <c:v>41.843630353369456</c:v>
                </c:pt>
                <c:pt idx="4">
                  <c:v>41.434773191701744</c:v>
                </c:pt>
                <c:pt idx="5">
                  <c:v>34.534816028101474</c:v>
                </c:pt>
                <c:pt idx="6">
                  <c:v>34.467247352155958</c:v>
                </c:pt>
                <c:pt idx="7">
                  <c:v>34.204084370074781</c:v>
                </c:pt>
                <c:pt idx="8">
                  <c:v>32.87291331711603</c:v>
                </c:pt>
                <c:pt idx="9">
                  <c:v>30.149789636695036</c:v>
                </c:pt>
                <c:pt idx="10">
                  <c:v>26.925324909865832</c:v>
                </c:pt>
                <c:pt idx="11">
                  <c:v>22.772883189342291</c:v>
                </c:pt>
                <c:pt idx="12">
                  <c:v>14.008167839401743</c:v>
                </c:pt>
                <c:pt idx="13">
                  <c:v>9.0293453724604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421607378129</c:v>
                </c:pt>
                <c:pt idx="1">
                  <c:v>19.584382871536</c:v>
                </c:pt>
                <c:pt idx="2">
                  <c:v>21.362530413624999</c:v>
                </c:pt>
                <c:pt idx="3">
                  <c:v>18.853171155516002</c:v>
                </c:pt>
                <c:pt idx="4">
                  <c:v>24.172185430462999</c:v>
                </c:pt>
                <c:pt idx="5">
                  <c:v>24.003189792663001</c:v>
                </c:pt>
                <c:pt idx="6">
                  <c:v>21.000981354267999</c:v>
                </c:pt>
                <c:pt idx="7">
                  <c:v>20.129032258064001</c:v>
                </c:pt>
                <c:pt idx="8">
                  <c:v>20.605187319883999</c:v>
                </c:pt>
                <c:pt idx="9">
                  <c:v>17.169069462646998</c:v>
                </c:pt>
                <c:pt idx="10">
                  <c:v>15.739268680445001</c:v>
                </c:pt>
                <c:pt idx="11">
                  <c:v>10.990712074303</c:v>
                </c:pt>
                <c:pt idx="12">
                  <c:v>10.375939849624</c:v>
                </c:pt>
                <c:pt idx="13">
                  <c:v>7.6040172166420001</c:v>
                </c:pt>
                <c:pt idx="14">
                  <c:v>2.9729729729719998</c:v>
                </c:pt>
                <c:pt idx="15">
                  <c:v>1.997146932952</c:v>
                </c:pt>
                <c:pt idx="16">
                  <c:v>2.769679300291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8.140589569159999</c:v>
                </c:pt>
                <c:pt idx="1">
                  <c:v>20.698192621935998</c:v>
                </c:pt>
                <c:pt idx="2">
                  <c:v>19.965477560414001</c:v>
                </c:pt>
                <c:pt idx="3">
                  <c:v>20.832375258679999</c:v>
                </c:pt>
                <c:pt idx="4">
                  <c:v>27.940552016984999</c:v>
                </c:pt>
                <c:pt idx="5">
                  <c:v>26.442873969375</c:v>
                </c:pt>
                <c:pt idx="6">
                  <c:v>25.306957708049001</c:v>
                </c:pt>
                <c:pt idx="7">
                  <c:v>20.678513731824999</c:v>
                </c:pt>
                <c:pt idx="8">
                  <c:v>21.443736730360001</c:v>
                </c:pt>
                <c:pt idx="9">
                  <c:v>18.118948824343001</c:v>
                </c:pt>
                <c:pt idx="10">
                  <c:v>13.084745762711</c:v>
                </c:pt>
                <c:pt idx="11">
                  <c:v>8.7429111531189996</c:v>
                </c:pt>
                <c:pt idx="12">
                  <c:v>9.3770070648679997</c:v>
                </c:pt>
                <c:pt idx="13">
                  <c:v>4.7164811870690002</c:v>
                </c:pt>
                <c:pt idx="14">
                  <c:v>2.1338724168910002</c:v>
                </c:pt>
                <c:pt idx="15">
                  <c:v>0.78271759549099995</c:v>
                </c:pt>
                <c:pt idx="16">
                  <c:v>0.675241157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7.224536160545</c:v>
                </c:pt>
                <c:pt idx="1">
                  <c:v>26.127762640023999</c:v>
                </c:pt>
                <c:pt idx="2">
                  <c:v>33.304916169366003</c:v>
                </c:pt>
                <c:pt idx="3">
                  <c:v>29.988193624556999</c:v>
                </c:pt>
                <c:pt idx="4">
                  <c:v>33.262430204731999</c:v>
                </c:pt>
                <c:pt idx="5">
                  <c:v>27.828467153283999</c:v>
                </c:pt>
                <c:pt idx="6">
                  <c:v>25.277082588487001</c:v>
                </c:pt>
                <c:pt idx="7">
                  <c:v>20.016785564414</c:v>
                </c:pt>
                <c:pt idx="8">
                  <c:v>18.941233608547002</c:v>
                </c:pt>
                <c:pt idx="9">
                  <c:v>16.235693090291999</c:v>
                </c:pt>
                <c:pt idx="10">
                  <c:v>13.333333333333</c:v>
                </c:pt>
                <c:pt idx="11">
                  <c:v>11.541889483065001</c:v>
                </c:pt>
                <c:pt idx="12">
                  <c:v>6.472081218274</c:v>
                </c:pt>
                <c:pt idx="13">
                  <c:v>4.2903320599469996</c:v>
                </c:pt>
                <c:pt idx="14">
                  <c:v>1.7850408548079999</c:v>
                </c:pt>
                <c:pt idx="15">
                  <c:v>0.89247032319499997</c:v>
                </c:pt>
                <c:pt idx="16">
                  <c:v>0.972644376898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2.575070209547999</c:v>
                </c:pt>
                <c:pt idx="1">
                  <c:v>24.478969306555001</c:v>
                </c:pt>
                <c:pt idx="2">
                  <c:v>26.003062787135999</c:v>
                </c:pt>
                <c:pt idx="3">
                  <c:v>27.623953638119001</c:v>
                </c:pt>
                <c:pt idx="4">
                  <c:v>36.080798699791004</c:v>
                </c:pt>
                <c:pt idx="5">
                  <c:v>38.054848741870998</c:v>
                </c:pt>
                <c:pt idx="6">
                  <c:v>38.484546360917001</c:v>
                </c:pt>
                <c:pt idx="7">
                  <c:v>34.859011033919003</c:v>
                </c:pt>
                <c:pt idx="8">
                  <c:v>33.387445887444997</c:v>
                </c:pt>
                <c:pt idx="9">
                  <c:v>28.808290155440002</c:v>
                </c:pt>
                <c:pt idx="10">
                  <c:v>25.678119349005001</c:v>
                </c:pt>
                <c:pt idx="11">
                  <c:v>24.663677130044</c:v>
                </c:pt>
                <c:pt idx="12">
                  <c:v>24.778761061946</c:v>
                </c:pt>
                <c:pt idx="13">
                  <c:v>18.697318007661998</c:v>
                </c:pt>
                <c:pt idx="14">
                  <c:v>13.267326732673</c:v>
                </c:pt>
                <c:pt idx="15">
                  <c:v>10.783410138248</c:v>
                </c:pt>
                <c:pt idx="16">
                  <c:v>6.95931477516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9.509483776835001</c:v>
                </c:pt>
                <c:pt idx="1">
                  <c:v>19.627720504009002</c:v>
                </c:pt>
                <c:pt idx="2">
                  <c:v>20.687503000624002</c:v>
                </c:pt>
                <c:pt idx="3">
                  <c:v>21.926675369885999</c:v>
                </c:pt>
                <c:pt idx="4">
                  <c:v>28.262146513384</c:v>
                </c:pt>
                <c:pt idx="5">
                  <c:v>30.589283725074999</c:v>
                </c:pt>
                <c:pt idx="6">
                  <c:v>28.003161222338999</c:v>
                </c:pt>
                <c:pt idx="7">
                  <c:v>26.791639017916001</c:v>
                </c:pt>
                <c:pt idx="8">
                  <c:v>24.472393945853</c:v>
                </c:pt>
                <c:pt idx="9">
                  <c:v>18.299783729828</c:v>
                </c:pt>
                <c:pt idx="10">
                  <c:v>12.190790308258</c:v>
                </c:pt>
                <c:pt idx="11">
                  <c:v>8.8303722504230002</c:v>
                </c:pt>
                <c:pt idx="12">
                  <c:v>9.0515491814360001</c:v>
                </c:pt>
                <c:pt idx="13">
                  <c:v>6.3703088214920003</c:v>
                </c:pt>
                <c:pt idx="14">
                  <c:v>2.780608531081</c:v>
                </c:pt>
                <c:pt idx="15">
                  <c:v>2.5820486143950001</c:v>
                </c:pt>
                <c:pt idx="16">
                  <c:v>1.490939044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7.190550801493998</c:v>
                </c:pt>
                <c:pt idx="1">
                  <c:v>29.446764091858</c:v>
                </c:pt>
                <c:pt idx="2">
                  <c:v>31.339611436327999</c:v>
                </c:pt>
                <c:pt idx="3">
                  <c:v>29.211566788123001</c:v>
                </c:pt>
                <c:pt idx="4">
                  <c:v>29.733231707317</c:v>
                </c:pt>
                <c:pt idx="5">
                  <c:v>27.501170594662</c:v>
                </c:pt>
                <c:pt idx="6">
                  <c:v>24.026845637583001</c:v>
                </c:pt>
                <c:pt idx="7">
                  <c:v>22.479594087799999</c:v>
                </c:pt>
                <c:pt idx="8">
                  <c:v>18.74609716498</c:v>
                </c:pt>
                <c:pt idx="9">
                  <c:v>16.549824737104998</c:v>
                </c:pt>
                <c:pt idx="10">
                  <c:v>12.263903462748999</c:v>
                </c:pt>
                <c:pt idx="11">
                  <c:v>9.5617529880469991</c:v>
                </c:pt>
                <c:pt idx="12">
                  <c:v>7.0562635996259999</c:v>
                </c:pt>
                <c:pt idx="13">
                  <c:v>3.950572742851</c:v>
                </c:pt>
                <c:pt idx="14">
                  <c:v>1.955475330926</c:v>
                </c:pt>
                <c:pt idx="15">
                  <c:v>1.6710581056710001</c:v>
                </c:pt>
                <c:pt idx="16">
                  <c:v>1.382828757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5.624165058631</c:v>
                </c:pt>
                <c:pt idx="1">
                  <c:v>33.865300766201997</c:v>
                </c:pt>
                <c:pt idx="2">
                  <c:v>30.494002846106</c:v>
                </c:pt>
                <c:pt idx="3">
                  <c:v>23.014959723819999</c:v>
                </c:pt>
                <c:pt idx="4">
                  <c:v>19.580488043664001</c:v>
                </c:pt>
                <c:pt idx="5">
                  <c:v>18.037518037518002</c:v>
                </c:pt>
                <c:pt idx="6">
                  <c:v>17.985072389915999</c:v>
                </c:pt>
                <c:pt idx="7">
                  <c:v>16.663333999866001</c:v>
                </c:pt>
                <c:pt idx="8">
                  <c:v>16.570826179084001</c:v>
                </c:pt>
                <c:pt idx="9">
                  <c:v>12.194130558491</c:v>
                </c:pt>
                <c:pt idx="10">
                  <c:v>10.031222179032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6.103701895199000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2.024640047498</c:v>
                </c:pt>
                <c:pt idx="1">
                  <c:v>292.08821910849503</c:v>
                </c:pt>
                <c:pt idx="2">
                  <c:v>304.94002846106901</c:v>
                </c:pt>
                <c:pt idx="3">
                  <c:v>193.983231957915</c:v>
                </c:pt>
                <c:pt idx="4">
                  <c:v>369.58171182416697</c:v>
                </c:pt>
                <c:pt idx="5">
                  <c:v>364.357864357864</c:v>
                </c:pt>
                <c:pt idx="6">
                  <c:v>179.850723899163</c:v>
                </c:pt>
                <c:pt idx="7">
                  <c:v>226.62134239818701</c:v>
                </c:pt>
                <c:pt idx="8">
                  <c:v>248.38610730138799</c:v>
                </c:pt>
                <c:pt idx="9">
                  <c:v>222.204156843617</c:v>
                </c:pt>
                <c:pt idx="10">
                  <c:v>295.92105428145101</c:v>
                </c:pt>
                <c:pt idx="11">
                  <c:v>268.89752016731398</c:v>
                </c:pt>
                <c:pt idx="12">
                  <c:v>172.00602021070699</c:v>
                </c:pt>
                <c:pt idx="13">
                  <c:v>177.007354960783</c:v>
                </c:pt>
                <c:pt idx="14">
                  <c:v>72.950102130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55.30651625352499</c:v>
                </c:pt>
                <c:pt idx="1">
                  <c:v>139.69436566058499</c:v>
                </c:pt>
                <c:pt idx="2">
                  <c:v>159.246459307447</c:v>
                </c:pt>
                <c:pt idx="3">
                  <c:v>69.044879171461005</c:v>
                </c:pt>
                <c:pt idx="4">
                  <c:v>244.75610054580599</c:v>
                </c:pt>
                <c:pt idx="5">
                  <c:v>151.51515151515099</c:v>
                </c:pt>
                <c:pt idx="6">
                  <c:v>152.87311531428901</c:v>
                </c:pt>
                <c:pt idx="7">
                  <c:v>173.29867359861299</c:v>
                </c:pt>
                <c:pt idx="8">
                  <c:v>158.127990240841</c:v>
                </c:pt>
                <c:pt idx="9">
                  <c:v>157.16879386499701</c:v>
                </c:pt>
                <c:pt idx="10">
                  <c:v>125.390277237902</c:v>
                </c:pt>
                <c:pt idx="11">
                  <c:v>224.08126680609499</c:v>
                </c:pt>
                <c:pt idx="12">
                  <c:v>50.168422561455998</c:v>
                </c:pt>
                <c:pt idx="13">
                  <c:v>167.85180211798399</c:v>
                </c:pt>
                <c:pt idx="14">
                  <c:v>124.0151736212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5.46534065607801</c:v>
                </c:pt>
                <c:pt idx="1">
                  <c:v>42.331625957752998</c:v>
                </c:pt>
                <c:pt idx="2">
                  <c:v>155.85823676899</c:v>
                </c:pt>
                <c:pt idx="3">
                  <c:v>55.893473614991997</c:v>
                </c:pt>
                <c:pt idx="4">
                  <c:v>163.98658736569001</c:v>
                </c:pt>
                <c:pt idx="5">
                  <c:v>72.150072150072006</c:v>
                </c:pt>
                <c:pt idx="6">
                  <c:v>91.424117982073994</c:v>
                </c:pt>
                <c:pt idx="7">
                  <c:v>111.644337799106</c:v>
                </c:pt>
                <c:pt idx="8">
                  <c:v>94.841537067527</c:v>
                </c:pt>
                <c:pt idx="9">
                  <c:v>75.874590141721995</c:v>
                </c:pt>
                <c:pt idx="10">
                  <c:v>82.757582977015005</c:v>
                </c:pt>
                <c:pt idx="11">
                  <c:v>134.44876008365699</c:v>
                </c:pt>
                <c:pt idx="12">
                  <c:v>50.168422561455998</c:v>
                </c:pt>
                <c:pt idx="13">
                  <c:v>82.399975585191996</c:v>
                </c:pt>
                <c:pt idx="14">
                  <c:v>14.59002042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5.624165058631</c:v>
                </c:pt>
                <c:pt idx="1">
                  <c:v>33.865300766201997</c:v>
                </c:pt>
                <c:pt idx="2">
                  <c:v>30.494002846106</c:v>
                </c:pt>
                <c:pt idx="3">
                  <c:v>23.014959723819999</c:v>
                </c:pt>
                <c:pt idx="4">
                  <c:v>19.580488043664001</c:v>
                </c:pt>
                <c:pt idx="5">
                  <c:v>18.037518037518002</c:v>
                </c:pt>
                <c:pt idx="6">
                  <c:v>17.985072389915999</c:v>
                </c:pt>
                <c:pt idx="7">
                  <c:v>16.663333999866001</c:v>
                </c:pt>
                <c:pt idx="8">
                  <c:v>16.570826179084001</c:v>
                </c:pt>
                <c:pt idx="9">
                  <c:v>12.194130558491</c:v>
                </c:pt>
                <c:pt idx="10">
                  <c:v>10.031222179032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6.103701895199000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42818623398409"/>
          <c:y val="0.1703220066242872"/>
          <c:w val="0.73221684886657512"/>
          <c:h val="0.813696424623908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7.268605999999998</c:v>
                </c:pt>
                <c:pt idx="1">
                  <c:v>17.182795800000001</c:v>
                </c:pt>
                <c:pt idx="2">
                  <c:v>16.792142299999998</c:v>
                </c:pt>
                <c:pt idx="3">
                  <c:v>16.070668300000001</c:v>
                </c:pt>
                <c:pt idx="4">
                  <c:v>16.290257199999999</c:v>
                </c:pt>
                <c:pt idx="5">
                  <c:v>16.522711600000001</c:v>
                </c:pt>
                <c:pt idx="6">
                  <c:v>16.3079462</c:v>
                </c:pt>
                <c:pt idx="7">
                  <c:v>15.929225499999999</c:v>
                </c:pt>
                <c:pt idx="8">
                  <c:v>15.9824377</c:v>
                </c:pt>
                <c:pt idx="9">
                  <c:v>15.887165899999999</c:v>
                </c:pt>
                <c:pt idx="10">
                  <c:v>15.9213419</c:v>
                </c:pt>
                <c:pt idx="11">
                  <c:v>15.9813914</c:v>
                </c:pt>
                <c:pt idx="12">
                  <c:v>16.029086599999999</c:v>
                </c:pt>
                <c:pt idx="13">
                  <c:v>16.0769965</c:v>
                </c:pt>
                <c:pt idx="14">
                  <c:v>15.5260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2.501329999999999</c:v>
                </c:pt>
                <c:pt idx="1">
                  <c:v>23.737354</c:v>
                </c:pt>
                <c:pt idx="2">
                  <c:v>23.455017999999999</c:v>
                </c:pt>
                <c:pt idx="3">
                  <c:v>22.943051000000001</c:v>
                </c:pt>
                <c:pt idx="4">
                  <c:v>22.757604000000001</c:v>
                </c:pt>
                <c:pt idx="5">
                  <c:v>21.395132</c:v>
                </c:pt>
                <c:pt idx="6">
                  <c:v>22.336701000000001</c:v>
                </c:pt>
                <c:pt idx="7">
                  <c:v>20.863503999999999</c:v>
                </c:pt>
                <c:pt idx="8">
                  <c:v>22.115570000000002</c:v>
                </c:pt>
                <c:pt idx="9">
                  <c:v>20.640291000000001</c:v>
                </c:pt>
                <c:pt idx="10">
                  <c:v>22.631958000000001</c:v>
                </c:pt>
                <c:pt idx="11">
                  <c:v>22.51304</c:v>
                </c:pt>
                <c:pt idx="12">
                  <c:v>22.759546</c:v>
                </c:pt>
                <c:pt idx="13">
                  <c:v>21.033048999999998</c:v>
                </c:pt>
                <c:pt idx="14">
                  <c:v>22.07884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0.991044</c:v>
                </c:pt>
                <c:pt idx="1">
                  <c:v>8.7280780999999994</c:v>
                </c:pt>
                <c:pt idx="2">
                  <c:v>9.1082135999999991</c:v>
                </c:pt>
                <c:pt idx="3">
                  <c:v>9.4406491999999993</c:v>
                </c:pt>
                <c:pt idx="4">
                  <c:v>9.2684701</c:v>
                </c:pt>
                <c:pt idx="5">
                  <c:v>10.255803</c:v>
                </c:pt>
                <c:pt idx="6">
                  <c:v>9.3705998000000008</c:v>
                </c:pt>
                <c:pt idx="7">
                  <c:v>11.144333</c:v>
                </c:pt>
                <c:pt idx="8">
                  <c:v>9.7926532999999996</c:v>
                </c:pt>
                <c:pt idx="9">
                  <c:v>11.042429</c:v>
                </c:pt>
                <c:pt idx="10">
                  <c:v>8.8020376999999996</c:v>
                </c:pt>
                <c:pt idx="11">
                  <c:v>8.0955206000000004</c:v>
                </c:pt>
                <c:pt idx="12">
                  <c:v>7.6519646999999997</c:v>
                </c:pt>
                <c:pt idx="13">
                  <c:v>9.0364809000000008</c:v>
                </c:pt>
                <c:pt idx="14">
                  <c:v>8.517279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2.4255499999999999</c:v>
                </c:pt>
                <c:pt idx="1">
                  <c:v>4.2788469999999998</c:v>
                </c:pt>
                <c:pt idx="2">
                  <c:v>3.4370240000000001</c:v>
                </c:pt>
                <c:pt idx="3">
                  <c:v>3.0754030000000001</c:v>
                </c:pt>
                <c:pt idx="4">
                  <c:v>4.23454</c:v>
                </c:pt>
                <c:pt idx="5">
                  <c:v>3.2251569999999998</c:v>
                </c:pt>
                <c:pt idx="6">
                  <c:v>4.1471340000000003</c:v>
                </c:pt>
                <c:pt idx="7">
                  <c:v>3.4047040000000002</c:v>
                </c:pt>
                <c:pt idx="8">
                  <c:v>4.7361329999999997</c:v>
                </c:pt>
                <c:pt idx="9">
                  <c:v>2.5353059999999998</c:v>
                </c:pt>
                <c:pt idx="10">
                  <c:v>2.1205530000000001</c:v>
                </c:pt>
                <c:pt idx="11">
                  <c:v>6.529102</c:v>
                </c:pt>
                <c:pt idx="12">
                  <c:v>3.5115910000000001</c:v>
                </c:pt>
                <c:pt idx="13">
                  <c:v>2.92123</c:v>
                </c:pt>
                <c:pt idx="14">
                  <c:v>3.1130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5.3687071399999997</c:v>
                </c:pt>
                <c:pt idx="1">
                  <c:v>4.7231808099999997</c:v>
                </c:pt>
                <c:pt idx="2">
                  <c:v>3.6321907699999998</c:v>
                </c:pt>
                <c:pt idx="3">
                  <c:v>2.5439608100000002</c:v>
                </c:pt>
                <c:pt idx="4">
                  <c:v>4.8647154600000002</c:v>
                </c:pt>
                <c:pt idx="5">
                  <c:v>4.7703966400000004</c:v>
                </c:pt>
                <c:pt idx="6">
                  <c:v>1.78240843</c:v>
                </c:pt>
                <c:pt idx="7">
                  <c:v>4.73765809</c:v>
                </c:pt>
                <c:pt idx="8">
                  <c:v>5.2950757399999997</c:v>
                </c:pt>
                <c:pt idx="9">
                  <c:v>6.1439478599999999</c:v>
                </c:pt>
                <c:pt idx="10">
                  <c:v>4.9719462800000001</c:v>
                </c:pt>
                <c:pt idx="11">
                  <c:v>3.8002103200000001</c:v>
                </c:pt>
                <c:pt idx="12">
                  <c:v>3.8284084599999999</c:v>
                </c:pt>
                <c:pt idx="13">
                  <c:v>3.4563425200000002</c:v>
                </c:pt>
                <c:pt idx="14">
                  <c:v>3.9546994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Liberecký kraj</c:v>
                </c:pt>
                <c:pt idx="8">
                  <c:v>Středočeský kraj</c:v>
                </c:pt>
                <c:pt idx="9">
                  <c:v>Pardubický kraj</c:v>
                </c:pt>
                <c:pt idx="10">
                  <c:v>Ústecký kraj</c:v>
                </c:pt>
                <c:pt idx="11">
                  <c:v>Hlavní město Prah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41.444763399999999</c:v>
                </c:pt>
                <c:pt idx="1">
                  <c:v>41.349744100000002</c:v>
                </c:pt>
                <c:pt idx="2">
                  <c:v>43.575412</c:v>
                </c:pt>
                <c:pt idx="3">
                  <c:v>45.926266900000002</c:v>
                </c:pt>
                <c:pt idx="4">
                  <c:v>42.5844138</c:v>
                </c:pt>
                <c:pt idx="5">
                  <c:v>43.830800199999999</c:v>
                </c:pt>
                <c:pt idx="6">
                  <c:v>46.055211</c:v>
                </c:pt>
                <c:pt idx="7">
                  <c:v>43.920574199999997</c:v>
                </c:pt>
                <c:pt idx="8">
                  <c:v>42.078130399999999</c:v>
                </c:pt>
                <c:pt idx="9">
                  <c:v>43.750860699999997</c:v>
                </c:pt>
                <c:pt idx="10">
                  <c:v>45.552163800000002</c:v>
                </c:pt>
                <c:pt idx="11">
                  <c:v>43.080734999999997</c:v>
                </c:pt>
                <c:pt idx="12">
                  <c:v>46.219402700000003</c:v>
                </c:pt>
                <c:pt idx="13">
                  <c:v>47.475900899999999</c:v>
                </c:pt>
                <c:pt idx="14">
                  <c:v>46.8100339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41-44AB-AAC3-C217D5B40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6240622812244838E-3"/>
          <c:y val="6.0972048032513305E-2"/>
          <c:w val="0.98797442151689274"/>
          <c:h val="4.6756224139152217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6.486087170646996</c:v>
                </c:pt>
                <c:pt idx="1">
                  <c:v>59.120872624078999</c:v>
                </c:pt>
                <c:pt idx="2">
                  <c:v>54.378664649138997</c:v>
                </c:pt>
                <c:pt idx="3">
                  <c:v>43.741661745728997</c:v>
                </c:pt>
                <c:pt idx="4">
                  <c:v>34.407519301778997</c:v>
                </c:pt>
                <c:pt idx="5">
                  <c:v>33.381551129408997</c:v>
                </c:pt>
                <c:pt idx="6">
                  <c:v>32.657326671238003</c:v>
                </c:pt>
                <c:pt idx="7">
                  <c:v>31.379932533144999</c:v>
                </c:pt>
                <c:pt idx="8">
                  <c:v>30.120179516269001</c:v>
                </c:pt>
                <c:pt idx="9">
                  <c:v>29.464999789535</c:v>
                </c:pt>
                <c:pt idx="10">
                  <c:v>18.123915801464999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5.0205843960229997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7.50554050726402</c:v>
                </c:pt>
                <c:pt idx="1">
                  <c:v>384.28567205651899</c:v>
                </c:pt>
                <c:pt idx="2">
                  <c:v>286.07906184981999</c:v>
                </c:pt>
                <c:pt idx="3">
                  <c:v>310.565798394681</c:v>
                </c:pt>
                <c:pt idx="4">
                  <c:v>349.11043974488001</c:v>
                </c:pt>
                <c:pt idx="5">
                  <c:v>328.68950531541799</c:v>
                </c:pt>
                <c:pt idx="6">
                  <c:v>463.73403873158901</c:v>
                </c:pt>
                <c:pt idx="7">
                  <c:v>288.02295217922398</c:v>
                </c:pt>
                <c:pt idx="8">
                  <c:v>255.01751990441801</c:v>
                </c:pt>
                <c:pt idx="9">
                  <c:v>441.974996843035</c:v>
                </c:pt>
                <c:pt idx="10">
                  <c:v>396.13701680345901</c:v>
                </c:pt>
                <c:pt idx="11">
                  <c:v>318.62802520909901</c:v>
                </c:pt>
                <c:pt idx="12">
                  <c:v>443.92075192502602</c:v>
                </c:pt>
                <c:pt idx="13">
                  <c:v>225.92629782106599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12.73085446934198</c:v>
                </c:pt>
                <c:pt idx="1">
                  <c:v>224.65931597150299</c:v>
                </c:pt>
                <c:pt idx="2">
                  <c:v>235.24683185171099</c:v>
                </c:pt>
                <c:pt idx="3">
                  <c:v>251.514555037945</c:v>
                </c:pt>
                <c:pt idx="4">
                  <c:v>192.178583417254</c:v>
                </c:pt>
                <c:pt idx="5">
                  <c:v>225.79431213375599</c:v>
                </c:pt>
                <c:pt idx="6">
                  <c:v>262.89147970347102</c:v>
                </c:pt>
                <c:pt idx="7">
                  <c:v>209.57312084636101</c:v>
                </c:pt>
                <c:pt idx="8">
                  <c:v>159.63695143622999</c:v>
                </c:pt>
                <c:pt idx="9">
                  <c:v>345.16142610598899</c:v>
                </c:pt>
                <c:pt idx="10">
                  <c:v>346.94353105662401</c:v>
                </c:pt>
                <c:pt idx="11">
                  <c:v>156.971159478012</c:v>
                </c:pt>
                <c:pt idx="12">
                  <c:v>350.75219905187203</c:v>
                </c:pt>
                <c:pt idx="13">
                  <c:v>100.411687920473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6.695395222851</c:v>
                </c:pt>
                <c:pt idx="1">
                  <c:v>94.593396198527003</c:v>
                </c:pt>
                <c:pt idx="2">
                  <c:v>189.14318138831001</c:v>
                </c:pt>
                <c:pt idx="3">
                  <c:v>131.224985237189</c:v>
                </c:pt>
                <c:pt idx="4">
                  <c:v>125.88116817724</c:v>
                </c:pt>
                <c:pt idx="5">
                  <c:v>146.77880534054799</c:v>
                </c:pt>
                <c:pt idx="6">
                  <c:v>189.41249469318399</c:v>
                </c:pt>
                <c:pt idx="7">
                  <c:v>187.15888332268599</c:v>
                </c:pt>
                <c:pt idx="8">
                  <c:v>117.468700113452</c:v>
                </c:pt>
                <c:pt idx="9">
                  <c:v>212.56892705307899</c:v>
                </c:pt>
                <c:pt idx="10">
                  <c:v>150.169588069285</c:v>
                </c:pt>
                <c:pt idx="11">
                  <c:v>74.971300049199002</c:v>
                </c:pt>
                <c:pt idx="12">
                  <c:v>189.07735730140001</c:v>
                </c:pt>
                <c:pt idx="13">
                  <c:v>47.695551762225001</c:v>
                </c:pt>
                <c:pt idx="14">
                  <c:v>24.145257871354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6.486087170646996</c:v>
                </c:pt>
                <c:pt idx="1">
                  <c:v>59.120872624078999</c:v>
                </c:pt>
                <c:pt idx="2">
                  <c:v>54.378664649138997</c:v>
                </c:pt>
                <c:pt idx="3">
                  <c:v>43.741661745728997</c:v>
                </c:pt>
                <c:pt idx="4">
                  <c:v>34.407519301778997</c:v>
                </c:pt>
                <c:pt idx="5">
                  <c:v>33.381551129408997</c:v>
                </c:pt>
                <c:pt idx="6">
                  <c:v>32.657326671238003</c:v>
                </c:pt>
                <c:pt idx="7">
                  <c:v>31.379932533144999</c:v>
                </c:pt>
                <c:pt idx="8">
                  <c:v>30.120179516269001</c:v>
                </c:pt>
                <c:pt idx="9">
                  <c:v>29.464999789535</c:v>
                </c:pt>
                <c:pt idx="10">
                  <c:v>18.123915801464999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5.0205843960229997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5.419847328244003</c:v>
                </c:pt>
                <c:pt idx="1">
                  <c:v>74.541787248969001</c:v>
                </c:pt>
                <c:pt idx="2">
                  <c:v>59.614492945617997</c:v>
                </c:pt>
                <c:pt idx="3">
                  <c:v>58.068797699369</c:v>
                </c:pt>
                <c:pt idx="4">
                  <c:v>45.141513395480999</c:v>
                </c:pt>
                <c:pt idx="5">
                  <c:v>43.944629766494003</c:v>
                </c:pt>
                <c:pt idx="6">
                  <c:v>41.514151581214001</c:v>
                </c:pt>
                <c:pt idx="7">
                  <c:v>40.373179115063003</c:v>
                </c:pt>
                <c:pt idx="8">
                  <c:v>34.885007104628997</c:v>
                </c:pt>
                <c:pt idx="9">
                  <c:v>32.834158945879999</c:v>
                </c:pt>
                <c:pt idx="10">
                  <c:v>32.180030626510998</c:v>
                </c:pt>
                <c:pt idx="11">
                  <c:v>29.688273132111998</c:v>
                </c:pt>
                <c:pt idx="12">
                  <c:v>21.625258301696</c:v>
                </c:pt>
                <c:pt idx="13">
                  <c:v>4.535970244035</c:v>
                </c:pt>
                <c:pt idx="14">
                  <c:v>4.188130837206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37.46689515500805</c:v>
                </c:pt>
                <c:pt idx="1">
                  <c:v>339.82285363500802</c:v>
                </c:pt>
                <c:pt idx="2">
                  <c:v>355.47901349053802</c:v>
                </c:pt>
                <c:pt idx="3">
                  <c:v>522.61917929432502</c:v>
                </c:pt>
                <c:pt idx="4">
                  <c:v>341.18585705887199</c:v>
                </c:pt>
                <c:pt idx="5">
                  <c:v>449.43371352096301</c:v>
                </c:pt>
                <c:pt idx="6">
                  <c:v>411.70177182398902</c:v>
                </c:pt>
                <c:pt idx="7">
                  <c:v>340.44410497026502</c:v>
                </c:pt>
                <c:pt idx="8">
                  <c:v>451.80338469654203</c:v>
                </c:pt>
                <c:pt idx="9">
                  <c:v>612.42844294707902</c:v>
                </c:pt>
                <c:pt idx="10">
                  <c:v>346.21274329212798</c:v>
                </c:pt>
                <c:pt idx="11">
                  <c:v>482.434438396833</c:v>
                </c:pt>
                <c:pt idx="12">
                  <c:v>521.40900571867905</c:v>
                </c:pt>
                <c:pt idx="13">
                  <c:v>265.354259276059</c:v>
                </c:pt>
                <c:pt idx="14">
                  <c:v>113.079532604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68.04798255179901</c:v>
                </c:pt>
                <c:pt idx="1">
                  <c:v>197.316495659037</c:v>
                </c:pt>
                <c:pt idx="2">
                  <c:v>357.68695767371003</c:v>
                </c:pt>
                <c:pt idx="3">
                  <c:v>345.64760535339002</c:v>
                </c:pt>
                <c:pt idx="4">
                  <c:v>293.94473838918202</c:v>
                </c:pt>
                <c:pt idx="5">
                  <c:v>335.57717276231898</c:v>
                </c:pt>
                <c:pt idx="6">
                  <c:v>289.29433059023597</c:v>
                </c:pt>
                <c:pt idx="7">
                  <c:v>200.77472857220701</c:v>
                </c:pt>
                <c:pt idx="8">
                  <c:v>265.46639552791203</c:v>
                </c:pt>
                <c:pt idx="9">
                  <c:v>362.60332053276898</c:v>
                </c:pt>
                <c:pt idx="10">
                  <c:v>250.78230764109199</c:v>
                </c:pt>
                <c:pt idx="11">
                  <c:v>452.74616526471999</c:v>
                </c:pt>
                <c:pt idx="12">
                  <c:v>394.060262386467</c:v>
                </c:pt>
                <c:pt idx="13">
                  <c:v>161.026943663249</c:v>
                </c:pt>
                <c:pt idx="14">
                  <c:v>129.83205595342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98.62906994859</c:v>
                </c:pt>
                <c:pt idx="1">
                  <c:v>98.658247829518004</c:v>
                </c:pt>
                <c:pt idx="2">
                  <c:v>223.00236250027501</c:v>
                </c:pt>
                <c:pt idx="3">
                  <c:v>116.13759539873899</c:v>
                </c:pt>
                <c:pt idx="4">
                  <c:v>149.071974468799</c:v>
                </c:pt>
                <c:pt idx="5">
                  <c:v>155.80368735393401</c:v>
                </c:pt>
                <c:pt idx="6">
                  <c:v>148.620662660748</c:v>
                </c:pt>
                <c:pt idx="7">
                  <c:v>108.025533307872</c:v>
                </c:pt>
                <c:pt idx="8">
                  <c:v>124.22465944575301</c:v>
                </c:pt>
                <c:pt idx="9">
                  <c:v>209.85310282802001</c:v>
                </c:pt>
                <c:pt idx="10">
                  <c:v>175.32568410306399</c:v>
                </c:pt>
                <c:pt idx="11">
                  <c:v>239.98020781791101</c:v>
                </c:pt>
                <c:pt idx="12">
                  <c:v>153.77961458984001</c:v>
                </c:pt>
                <c:pt idx="13">
                  <c:v>40.823732196316001</c:v>
                </c:pt>
                <c:pt idx="14">
                  <c:v>58.63383172090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5.419847328244003</c:v>
                </c:pt>
                <c:pt idx="1">
                  <c:v>74.541787248969001</c:v>
                </c:pt>
                <c:pt idx="2">
                  <c:v>59.614492945617997</c:v>
                </c:pt>
                <c:pt idx="3">
                  <c:v>58.068797699369</c:v>
                </c:pt>
                <c:pt idx="4">
                  <c:v>45.141513395480999</c:v>
                </c:pt>
                <c:pt idx="5">
                  <c:v>43.944629766494003</c:v>
                </c:pt>
                <c:pt idx="6">
                  <c:v>41.514151581214001</c:v>
                </c:pt>
                <c:pt idx="7">
                  <c:v>40.373179115063003</c:v>
                </c:pt>
                <c:pt idx="8">
                  <c:v>34.885007104628997</c:v>
                </c:pt>
                <c:pt idx="9">
                  <c:v>32.834158945879999</c:v>
                </c:pt>
                <c:pt idx="10">
                  <c:v>32.180030626510998</c:v>
                </c:pt>
                <c:pt idx="11">
                  <c:v>29.688273132111998</c:v>
                </c:pt>
                <c:pt idx="12">
                  <c:v>21.625258301696</c:v>
                </c:pt>
                <c:pt idx="13">
                  <c:v>4.535970244035</c:v>
                </c:pt>
                <c:pt idx="14">
                  <c:v>4.188130837206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5098508700484945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70–79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2:$FG$2</c:f>
              <c:numCache>
                <c:formatCode>General</c:formatCode>
                <c:ptCount val="162"/>
                <c:pt idx="0">
                  <c:v>67</c:v>
                </c:pt>
                <c:pt idx="1">
                  <c:v>173</c:v>
                </c:pt>
                <c:pt idx="2">
                  <c:v>329</c:v>
                </c:pt>
                <c:pt idx="3">
                  <c:v>486</c:v>
                </c:pt>
                <c:pt idx="4">
                  <c:v>597</c:v>
                </c:pt>
                <c:pt idx="5">
                  <c:v>605</c:v>
                </c:pt>
                <c:pt idx="6">
                  <c:v>645</c:v>
                </c:pt>
                <c:pt idx="7">
                  <c:v>674</c:v>
                </c:pt>
                <c:pt idx="8">
                  <c:v>805</c:v>
                </c:pt>
                <c:pt idx="9">
                  <c:v>954</c:v>
                </c:pt>
                <c:pt idx="10">
                  <c:v>1191</c:v>
                </c:pt>
                <c:pt idx="11">
                  <c:v>1644</c:v>
                </c:pt>
                <c:pt idx="12">
                  <c:v>2150</c:v>
                </c:pt>
                <c:pt idx="13">
                  <c:v>2329</c:v>
                </c:pt>
                <c:pt idx="14">
                  <c:v>2480</c:v>
                </c:pt>
                <c:pt idx="15">
                  <c:v>2936</c:v>
                </c:pt>
                <c:pt idx="16">
                  <c:v>3835</c:v>
                </c:pt>
                <c:pt idx="17">
                  <c:v>5036</c:v>
                </c:pt>
                <c:pt idx="18">
                  <c:v>6454</c:v>
                </c:pt>
                <c:pt idx="19">
                  <c:v>7688</c:v>
                </c:pt>
                <c:pt idx="20">
                  <c:v>8041</c:v>
                </c:pt>
                <c:pt idx="21">
                  <c:v>8267</c:v>
                </c:pt>
                <c:pt idx="22">
                  <c:v>9262</c:v>
                </c:pt>
                <c:pt idx="23">
                  <c:v>10248</c:v>
                </c:pt>
                <c:pt idx="24">
                  <c:v>11368</c:v>
                </c:pt>
                <c:pt idx="25">
                  <c:v>12516</c:v>
                </c:pt>
                <c:pt idx="26">
                  <c:v>13378</c:v>
                </c:pt>
                <c:pt idx="27">
                  <c:v>13588</c:v>
                </c:pt>
                <c:pt idx="28">
                  <c:v>13720</c:v>
                </c:pt>
                <c:pt idx="29">
                  <c:v>14251</c:v>
                </c:pt>
                <c:pt idx="30">
                  <c:v>14888</c:v>
                </c:pt>
                <c:pt idx="31">
                  <c:v>15470</c:v>
                </c:pt>
                <c:pt idx="32">
                  <c:v>16076</c:v>
                </c:pt>
                <c:pt idx="33">
                  <c:v>16719</c:v>
                </c:pt>
                <c:pt idx="34">
                  <c:v>16852</c:v>
                </c:pt>
                <c:pt idx="35">
                  <c:v>16999</c:v>
                </c:pt>
                <c:pt idx="36">
                  <c:v>17618</c:v>
                </c:pt>
                <c:pt idx="37">
                  <c:v>18473</c:v>
                </c:pt>
                <c:pt idx="38">
                  <c:v>19613</c:v>
                </c:pt>
                <c:pt idx="39">
                  <c:v>20942</c:v>
                </c:pt>
                <c:pt idx="40">
                  <c:v>22086</c:v>
                </c:pt>
                <c:pt idx="41">
                  <c:v>22244</c:v>
                </c:pt>
                <c:pt idx="42">
                  <c:v>22411</c:v>
                </c:pt>
                <c:pt idx="43">
                  <c:v>23356</c:v>
                </c:pt>
                <c:pt idx="44">
                  <c:v>24484</c:v>
                </c:pt>
                <c:pt idx="45">
                  <c:v>25796</c:v>
                </c:pt>
                <c:pt idx="46">
                  <c:v>27510</c:v>
                </c:pt>
                <c:pt idx="47">
                  <c:v>28974</c:v>
                </c:pt>
                <c:pt idx="48">
                  <c:v>29315</c:v>
                </c:pt>
                <c:pt idx="49">
                  <c:v>29400</c:v>
                </c:pt>
                <c:pt idx="50">
                  <c:v>30346</c:v>
                </c:pt>
                <c:pt idx="51">
                  <c:v>31556</c:v>
                </c:pt>
                <c:pt idx="52">
                  <c:v>32841</c:v>
                </c:pt>
                <c:pt idx="53">
                  <c:v>34197</c:v>
                </c:pt>
                <c:pt idx="54">
                  <c:v>35472</c:v>
                </c:pt>
                <c:pt idx="55">
                  <c:v>35608</c:v>
                </c:pt>
                <c:pt idx="56">
                  <c:v>35671</c:v>
                </c:pt>
                <c:pt idx="57">
                  <c:v>36536</c:v>
                </c:pt>
                <c:pt idx="58">
                  <c:v>37577</c:v>
                </c:pt>
                <c:pt idx="59">
                  <c:v>38972</c:v>
                </c:pt>
                <c:pt idx="60">
                  <c:v>40632</c:v>
                </c:pt>
                <c:pt idx="61">
                  <c:v>42587</c:v>
                </c:pt>
                <c:pt idx="62">
                  <c:v>42903</c:v>
                </c:pt>
                <c:pt idx="63">
                  <c:v>43044</c:v>
                </c:pt>
                <c:pt idx="64">
                  <c:v>45701</c:v>
                </c:pt>
                <c:pt idx="65">
                  <c:v>51043</c:v>
                </c:pt>
                <c:pt idx="66">
                  <c:v>60136</c:v>
                </c:pt>
                <c:pt idx="67">
                  <c:v>72433</c:v>
                </c:pt>
                <c:pt idx="68">
                  <c:v>84366</c:v>
                </c:pt>
                <c:pt idx="69">
                  <c:v>89336</c:v>
                </c:pt>
                <c:pt idx="70">
                  <c:v>93957</c:v>
                </c:pt>
                <c:pt idx="71">
                  <c:v>107981</c:v>
                </c:pt>
                <c:pt idx="72">
                  <c:v>125435</c:v>
                </c:pt>
                <c:pt idx="73">
                  <c:v>148083</c:v>
                </c:pt>
                <c:pt idx="74">
                  <c:v>173002</c:v>
                </c:pt>
                <c:pt idx="75">
                  <c:v>195419</c:v>
                </c:pt>
                <c:pt idx="76">
                  <c:v>205882</c:v>
                </c:pt>
                <c:pt idx="77">
                  <c:v>213509</c:v>
                </c:pt>
                <c:pt idx="78">
                  <c:v>231357</c:v>
                </c:pt>
                <c:pt idx="79">
                  <c:v>254177</c:v>
                </c:pt>
                <c:pt idx="80">
                  <c:v>277472</c:v>
                </c:pt>
                <c:pt idx="81">
                  <c:v>301197</c:v>
                </c:pt>
                <c:pt idx="82">
                  <c:v>320963</c:v>
                </c:pt>
                <c:pt idx="83">
                  <c:v>330248</c:v>
                </c:pt>
                <c:pt idx="84">
                  <c:v>335104</c:v>
                </c:pt>
                <c:pt idx="85">
                  <c:v>350838</c:v>
                </c:pt>
                <c:pt idx="86">
                  <c:v>368412</c:v>
                </c:pt>
                <c:pt idx="87">
                  <c:v>387183</c:v>
                </c:pt>
                <c:pt idx="88">
                  <c:v>405681</c:v>
                </c:pt>
                <c:pt idx="89">
                  <c:v>422012</c:v>
                </c:pt>
                <c:pt idx="90">
                  <c:v>429061</c:v>
                </c:pt>
                <c:pt idx="91">
                  <c:v>433260</c:v>
                </c:pt>
                <c:pt idx="92">
                  <c:v>450230</c:v>
                </c:pt>
                <c:pt idx="93">
                  <c:v>471223</c:v>
                </c:pt>
                <c:pt idx="94">
                  <c:v>494752</c:v>
                </c:pt>
                <c:pt idx="95">
                  <c:v>522599</c:v>
                </c:pt>
                <c:pt idx="96">
                  <c:v>532983</c:v>
                </c:pt>
                <c:pt idx="97">
                  <c:v>540419</c:v>
                </c:pt>
                <c:pt idx="98">
                  <c:v>546236</c:v>
                </c:pt>
                <c:pt idx="99">
                  <c:v>551426</c:v>
                </c:pt>
                <c:pt idx="100">
                  <c:v>574434</c:v>
                </c:pt>
                <c:pt idx="101">
                  <c:v>597929</c:v>
                </c:pt>
                <c:pt idx="102">
                  <c:v>636808</c:v>
                </c:pt>
                <c:pt idx="103">
                  <c:v>672290</c:v>
                </c:pt>
                <c:pt idx="104">
                  <c:v>689554</c:v>
                </c:pt>
                <c:pt idx="105">
                  <c:v>701591</c:v>
                </c:pt>
                <c:pt idx="106">
                  <c:v>737262</c:v>
                </c:pt>
                <c:pt idx="107">
                  <c:v>770390</c:v>
                </c:pt>
                <c:pt idx="108">
                  <c:v>806724</c:v>
                </c:pt>
                <c:pt idx="109">
                  <c:v>842509</c:v>
                </c:pt>
                <c:pt idx="110">
                  <c:v>870697</c:v>
                </c:pt>
                <c:pt idx="111">
                  <c:v>880445</c:v>
                </c:pt>
                <c:pt idx="112">
                  <c:v>888193</c:v>
                </c:pt>
                <c:pt idx="113">
                  <c:v>908911</c:v>
                </c:pt>
                <c:pt idx="114">
                  <c:v>928851</c:v>
                </c:pt>
                <c:pt idx="115">
                  <c:v>946246</c:v>
                </c:pt>
                <c:pt idx="116">
                  <c:v>966012</c:v>
                </c:pt>
                <c:pt idx="117">
                  <c:v>980223</c:v>
                </c:pt>
                <c:pt idx="118">
                  <c:v>986301</c:v>
                </c:pt>
                <c:pt idx="119">
                  <c:v>990278</c:v>
                </c:pt>
                <c:pt idx="120">
                  <c:v>1000756</c:v>
                </c:pt>
                <c:pt idx="121">
                  <c:v>1013392</c:v>
                </c:pt>
                <c:pt idx="122">
                  <c:v>1026914</c:v>
                </c:pt>
                <c:pt idx="123">
                  <c:v>1041220</c:v>
                </c:pt>
                <c:pt idx="124">
                  <c:v>1050820</c:v>
                </c:pt>
                <c:pt idx="125">
                  <c:v>1054325</c:v>
                </c:pt>
                <c:pt idx="126">
                  <c:v>1056817</c:v>
                </c:pt>
                <c:pt idx="127">
                  <c:v>1064262</c:v>
                </c:pt>
                <c:pt idx="128">
                  <c:v>1073752</c:v>
                </c:pt>
                <c:pt idx="129">
                  <c:v>1083945</c:v>
                </c:pt>
                <c:pt idx="130">
                  <c:v>1094754</c:v>
                </c:pt>
                <c:pt idx="131">
                  <c:v>1102951</c:v>
                </c:pt>
                <c:pt idx="132">
                  <c:v>1105375</c:v>
                </c:pt>
                <c:pt idx="133">
                  <c:v>1107092</c:v>
                </c:pt>
                <c:pt idx="134">
                  <c:v>1113955</c:v>
                </c:pt>
                <c:pt idx="135">
                  <c:v>1122300</c:v>
                </c:pt>
                <c:pt idx="136">
                  <c:v>1130216</c:v>
                </c:pt>
                <c:pt idx="137">
                  <c:v>1138068</c:v>
                </c:pt>
                <c:pt idx="138">
                  <c:v>1143292</c:v>
                </c:pt>
                <c:pt idx="139">
                  <c:v>1145117</c:v>
                </c:pt>
                <c:pt idx="140">
                  <c:v>1146478</c:v>
                </c:pt>
                <c:pt idx="141">
                  <c:v>1151327</c:v>
                </c:pt>
                <c:pt idx="142">
                  <c:v>1160030</c:v>
                </c:pt>
                <c:pt idx="143">
                  <c:v>1168880</c:v>
                </c:pt>
                <c:pt idx="144">
                  <c:v>1184627</c:v>
                </c:pt>
                <c:pt idx="145">
                  <c:v>1198686</c:v>
                </c:pt>
                <c:pt idx="146">
                  <c:v>1204781</c:v>
                </c:pt>
                <c:pt idx="147">
                  <c:v>1210170</c:v>
                </c:pt>
                <c:pt idx="148">
                  <c:v>1227299</c:v>
                </c:pt>
                <c:pt idx="149">
                  <c:v>1243901</c:v>
                </c:pt>
                <c:pt idx="150">
                  <c:v>1263083</c:v>
                </c:pt>
                <c:pt idx="151">
                  <c:v>1283595</c:v>
                </c:pt>
                <c:pt idx="152">
                  <c:v>1301214</c:v>
                </c:pt>
                <c:pt idx="153">
                  <c:v>1307017</c:v>
                </c:pt>
                <c:pt idx="154">
                  <c:v>1312659</c:v>
                </c:pt>
                <c:pt idx="155">
                  <c:v>1327732</c:v>
                </c:pt>
                <c:pt idx="156">
                  <c:v>1343382</c:v>
                </c:pt>
                <c:pt idx="157">
                  <c:v>1358938</c:v>
                </c:pt>
                <c:pt idx="158">
                  <c:v>1375555</c:v>
                </c:pt>
                <c:pt idx="159">
                  <c:v>1389324</c:v>
                </c:pt>
                <c:pt idx="160">
                  <c:v>1393747</c:v>
                </c:pt>
                <c:pt idx="161">
                  <c:v>1396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65–69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3:$FG$3</c:f>
              <c:numCache>
                <c:formatCode>General</c:formatCode>
                <c:ptCount val="162"/>
                <c:pt idx="0">
                  <c:v>82</c:v>
                </c:pt>
                <c:pt idx="1">
                  <c:v>217</c:v>
                </c:pt>
                <c:pt idx="2">
                  <c:v>394</c:v>
                </c:pt>
                <c:pt idx="3">
                  <c:v>558</c:v>
                </c:pt>
                <c:pt idx="4">
                  <c:v>619</c:v>
                </c:pt>
                <c:pt idx="5">
                  <c:v>631</c:v>
                </c:pt>
                <c:pt idx="6">
                  <c:v>681</c:v>
                </c:pt>
                <c:pt idx="7">
                  <c:v>723</c:v>
                </c:pt>
                <c:pt idx="8">
                  <c:v>917</c:v>
                </c:pt>
                <c:pt idx="9">
                  <c:v>1142</c:v>
                </c:pt>
                <c:pt idx="10">
                  <c:v>1426</c:v>
                </c:pt>
                <c:pt idx="11">
                  <c:v>1799</c:v>
                </c:pt>
                <c:pt idx="12">
                  <c:v>2248</c:v>
                </c:pt>
                <c:pt idx="13">
                  <c:v>2395</c:v>
                </c:pt>
                <c:pt idx="14">
                  <c:v>2526</c:v>
                </c:pt>
                <c:pt idx="15">
                  <c:v>2988</c:v>
                </c:pt>
                <c:pt idx="16">
                  <c:v>3694</c:v>
                </c:pt>
                <c:pt idx="17">
                  <c:v>4449</c:v>
                </c:pt>
                <c:pt idx="18">
                  <c:v>5327</c:v>
                </c:pt>
                <c:pt idx="19">
                  <c:v>6142</c:v>
                </c:pt>
                <c:pt idx="20">
                  <c:v>6308</c:v>
                </c:pt>
                <c:pt idx="21">
                  <c:v>6420</c:v>
                </c:pt>
                <c:pt idx="22">
                  <c:v>7135</c:v>
                </c:pt>
                <c:pt idx="23">
                  <c:v>7868</c:v>
                </c:pt>
                <c:pt idx="24">
                  <c:v>8564</c:v>
                </c:pt>
                <c:pt idx="25">
                  <c:v>9215</c:v>
                </c:pt>
                <c:pt idx="26">
                  <c:v>9690</c:v>
                </c:pt>
                <c:pt idx="27">
                  <c:v>9791</c:v>
                </c:pt>
                <c:pt idx="28">
                  <c:v>9879</c:v>
                </c:pt>
                <c:pt idx="29">
                  <c:v>10306</c:v>
                </c:pt>
                <c:pt idx="30">
                  <c:v>10879</c:v>
                </c:pt>
                <c:pt idx="31">
                  <c:v>11317</c:v>
                </c:pt>
                <c:pt idx="32">
                  <c:v>11778</c:v>
                </c:pt>
                <c:pt idx="33">
                  <c:v>12311</c:v>
                </c:pt>
                <c:pt idx="34">
                  <c:v>12429</c:v>
                </c:pt>
                <c:pt idx="35">
                  <c:v>12539</c:v>
                </c:pt>
                <c:pt idx="36">
                  <c:v>13064</c:v>
                </c:pt>
                <c:pt idx="37">
                  <c:v>13741</c:v>
                </c:pt>
                <c:pt idx="38">
                  <c:v>14501</c:v>
                </c:pt>
                <c:pt idx="39">
                  <c:v>15381</c:v>
                </c:pt>
                <c:pt idx="40">
                  <c:v>16161</c:v>
                </c:pt>
                <c:pt idx="41">
                  <c:v>16278</c:v>
                </c:pt>
                <c:pt idx="42">
                  <c:v>16367</c:v>
                </c:pt>
                <c:pt idx="43">
                  <c:v>17005</c:v>
                </c:pt>
                <c:pt idx="44">
                  <c:v>17717</c:v>
                </c:pt>
                <c:pt idx="45">
                  <c:v>18436</c:v>
                </c:pt>
                <c:pt idx="46">
                  <c:v>19332</c:v>
                </c:pt>
                <c:pt idx="47">
                  <c:v>20121</c:v>
                </c:pt>
                <c:pt idx="48">
                  <c:v>20255</c:v>
                </c:pt>
                <c:pt idx="49">
                  <c:v>20319</c:v>
                </c:pt>
                <c:pt idx="50">
                  <c:v>20825</c:v>
                </c:pt>
                <c:pt idx="51">
                  <c:v>21416</c:v>
                </c:pt>
                <c:pt idx="52">
                  <c:v>22012</c:v>
                </c:pt>
                <c:pt idx="53">
                  <c:v>22793</c:v>
                </c:pt>
                <c:pt idx="54">
                  <c:v>23406</c:v>
                </c:pt>
                <c:pt idx="55">
                  <c:v>23487</c:v>
                </c:pt>
                <c:pt idx="56">
                  <c:v>23521</c:v>
                </c:pt>
                <c:pt idx="57">
                  <c:v>23982</c:v>
                </c:pt>
                <c:pt idx="58">
                  <c:v>24620</c:v>
                </c:pt>
                <c:pt idx="59">
                  <c:v>25330</c:v>
                </c:pt>
                <c:pt idx="60">
                  <c:v>26115</c:v>
                </c:pt>
                <c:pt idx="61">
                  <c:v>26928</c:v>
                </c:pt>
                <c:pt idx="62">
                  <c:v>27004</c:v>
                </c:pt>
                <c:pt idx="63">
                  <c:v>27074</c:v>
                </c:pt>
                <c:pt idx="64">
                  <c:v>28113</c:v>
                </c:pt>
                <c:pt idx="65">
                  <c:v>29658</c:v>
                </c:pt>
                <c:pt idx="66">
                  <c:v>31302</c:v>
                </c:pt>
                <c:pt idx="67">
                  <c:v>33055</c:v>
                </c:pt>
                <c:pt idx="68">
                  <c:v>34470</c:v>
                </c:pt>
                <c:pt idx="69">
                  <c:v>35048</c:v>
                </c:pt>
                <c:pt idx="70">
                  <c:v>35697</c:v>
                </c:pt>
                <c:pt idx="71">
                  <c:v>36869</c:v>
                </c:pt>
                <c:pt idx="72">
                  <c:v>38267</c:v>
                </c:pt>
                <c:pt idx="73">
                  <c:v>39771</c:v>
                </c:pt>
                <c:pt idx="74">
                  <c:v>41597</c:v>
                </c:pt>
                <c:pt idx="75">
                  <c:v>43465</c:v>
                </c:pt>
                <c:pt idx="76">
                  <c:v>43928</c:v>
                </c:pt>
                <c:pt idx="77">
                  <c:v>44253</c:v>
                </c:pt>
                <c:pt idx="78">
                  <c:v>45595</c:v>
                </c:pt>
                <c:pt idx="79">
                  <c:v>47376</c:v>
                </c:pt>
                <c:pt idx="80">
                  <c:v>49141</c:v>
                </c:pt>
                <c:pt idx="81">
                  <c:v>50993</c:v>
                </c:pt>
                <c:pt idx="82">
                  <c:v>53076</c:v>
                </c:pt>
                <c:pt idx="83">
                  <c:v>53547</c:v>
                </c:pt>
                <c:pt idx="84">
                  <c:v>53724</c:v>
                </c:pt>
                <c:pt idx="85">
                  <c:v>55469</c:v>
                </c:pt>
                <c:pt idx="86">
                  <c:v>57442</c:v>
                </c:pt>
                <c:pt idx="87">
                  <c:v>59854</c:v>
                </c:pt>
                <c:pt idx="88">
                  <c:v>62202</c:v>
                </c:pt>
                <c:pt idx="89">
                  <c:v>64664</c:v>
                </c:pt>
                <c:pt idx="90">
                  <c:v>65235</c:v>
                </c:pt>
                <c:pt idx="91">
                  <c:v>65872</c:v>
                </c:pt>
                <c:pt idx="92">
                  <c:v>68520</c:v>
                </c:pt>
                <c:pt idx="93">
                  <c:v>71449</c:v>
                </c:pt>
                <c:pt idx="94">
                  <c:v>74441</c:v>
                </c:pt>
                <c:pt idx="95">
                  <c:v>77879</c:v>
                </c:pt>
                <c:pt idx="96">
                  <c:v>78893</c:v>
                </c:pt>
                <c:pt idx="97">
                  <c:v>79535</c:v>
                </c:pt>
                <c:pt idx="98">
                  <c:v>79951</c:v>
                </c:pt>
                <c:pt idx="99">
                  <c:v>80320</c:v>
                </c:pt>
                <c:pt idx="100">
                  <c:v>82688</c:v>
                </c:pt>
                <c:pt idx="101">
                  <c:v>85609</c:v>
                </c:pt>
                <c:pt idx="102">
                  <c:v>90167</c:v>
                </c:pt>
                <c:pt idx="103">
                  <c:v>95041</c:v>
                </c:pt>
                <c:pt idx="104">
                  <c:v>96917</c:v>
                </c:pt>
                <c:pt idx="105">
                  <c:v>97953</c:v>
                </c:pt>
                <c:pt idx="106">
                  <c:v>103343</c:v>
                </c:pt>
                <c:pt idx="107">
                  <c:v>108713</c:v>
                </c:pt>
                <c:pt idx="108">
                  <c:v>115588</c:v>
                </c:pt>
                <c:pt idx="109">
                  <c:v>126216</c:v>
                </c:pt>
                <c:pt idx="110">
                  <c:v>135846</c:v>
                </c:pt>
                <c:pt idx="111">
                  <c:v>140325</c:v>
                </c:pt>
                <c:pt idx="112">
                  <c:v>143070</c:v>
                </c:pt>
                <c:pt idx="113">
                  <c:v>158606</c:v>
                </c:pt>
                <c:pt idx="114">
                  <c:v>174614</c:v>
                </c:pt>
                <c:pt idx="115">
                  <c:v>196472</c:v>
                </c:pt>
                <c:pt idx="116">
                  <c:v>222198</c:v>
                </c:pt>
                <c:pt idx="117">
                  <c:v>242237</c:v>
                </c:pt>
                <c:pt idx="118">
                  <c:v>250374</c:v>
                </c:pt>
                <c:pt idx="119">
                  <c:v>256770</c:v>
                </c:pt>
                <c:pt idx="120">
                  <c:v>280339</c:v>
                </c:pt>
                <c:pt idx="121">
                  <c:v>300786</c:v>
                </c:pt>
                <c:pt idx="122">
                  <c:v>324142</c:v>
                </c:pt>
                <c:pt idx="123">
                  <c:v>344768</c:v>
                </c:pt>
                <c:pt idx="124">
                  <c:v>360195</c:v>
                </c:pt>
                <c:pt idx="125">
                  <c:v>363880</c:v>
                </c:pt>
                <c:pt idx="126">
                  <c:v>368543</c:v>
                </c:pt>
                <c:pt idx="127">
                  <c:v>381252</c:v>
                </c:pt>
                <c:pt idx="128">
                  <c:v>393610</c:v>
                </c:pt>
                <c:pt idx="129">
                  <c:v>406051</c:v>
                </c:pt>
                <c:pt idx="130">
                  <c:v>418542</c:v>
                </c:pt>
                <c:pt idx="131">
                  <c:v>428278</c:v>
                </c:pt>
                <c:pt idx="132">
                  <c:v>431731</c:v>
                </c:pt>
                <c:pt idx="133">
                  <c:v>434312</c:v>
                </c:pt>
                <c:pt idx="134">
                  <c:v>442642</c:v>
                </c:pt>
                <c:pt idx="135">
                  <c:v>451916</c:v>
                </c:pt>
                <c:pt idx="136">
                  <c:v>460365</c:v>
                </c:pt>
                <c:pt idx="137">
                  <c:v>468145</c:v>
                </c:pt>
                <c:pt idx="138">
                  <c:v>473843</c:v>
                </c:pt>
                <c:pt idx="139">
                  <c:v>476191</c:v>
                </c:pt>
                <c:pt idx="140">
                  <c:v>477983</c:v>
                </c:pt>
                <c:pt idx="141">
                  <c:v>483456</c:v>
                </c:pt>
                <c:pt idx="142">
                  <c:v>489396</c:v>
                </c:pt>
                <c:pt idx="143">
                  <c:v>495547</c:v>
                </c:pt>
                <c:pt idx="144">
                  <c:v>502509</c:v>
                </c:pt>
                <c:pt idx="145">
                  <c:v>508073</c:v>
                </c:pt>
                <c:pt idx="146">
                  <c:v>510601</c:v>
                </c:pt>
                <c:pt idx="147">
                  <c:v>512498</c:v>
                </c:pt>
                <c:pt idx="148">
                  <c:v>518657</c:v>
                </c:pt>
                <c:pt idx="149">
                  <c:v>524856</c:v>
                </c:pt>
                <c:pt idx="150">
                  <c:v>532123</c:v>
                </c:pt>
                <c:pt idx="151">
                  <c:v>542709</c:v>
                </c:pt>
                <c:pt idx="152">
                  <c:v>551586</c:v>
                </c:pt>
                <c:pt idx="153">
                  <c:v>556396</c:v>
                </c:pt>
                <c:pt idx="154">
                  <c:v>559473</c:v>
                </c:pt>
                <c:pt idx="155">
                  <c:v>574318</c:v>
                </c:pt>
                <c:pt idx="156">
                  <c:v>589976</c:v>
                </c:pt>
                <c:pt idx="157">
                  <c:v>611277</c:v>
                </c:pt>
                <c:pt idx="158">
                  <c:v>635711</c:v>
                </c:pt>
                <c:pt idx="159">
                  <c:v>654885</c:v>
                </c:pt>
                <c:pt idx="160">
                  <c:v>663434</c:v>
                </c:pt>
                <c:pt idx="161">
                  <c:v>669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80+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4:$FG$4</c:f>
              <c:numCache>
                <c:formatCode>General</c:formatCode>
                <c:ptCount val="162"/>
                <c:pt idx="0">
                  <c:v>26</c:v>
                </c:pt>
                <c:pt idx="1">
                  <c:v>125</c:v>
                </c:pt>
                <c:pt idx="2">
                  <c:v>405</c:v>
                </c:pt>
                <c:pt idx="3">
                  <c:v>599</c:v>
                </c:pt>
                <c:pt idx="4">
                  <c:v>717</c:v>
                </c:pt>
                <c:pt idx="5">
                  <c:v>720</c:v>
                </c:pt>
                <c:pt idx="6">
                  <c:v>732</c:v>
                </c:pt>
                <c:pt idx="7">
                  <c:v>735</c:v>
                </c:pt>
                <c:pt idx="8">
                  <c:v>766</c:v>
                </c:pt>
                <c:pt idx="9">
                  <c:v>807</c:v>
                </c:pt>
                <c:pt idx="10">
                  <c:v>874</c:v>
                </c:pt>
                <c:pt idx="11">
                  <c:v>1277</c:v>
                </c:pt>
                <c:pt idx="12">
                  <c:v>2136</c:v>
                </c:pt>
                <c:pt idx="13">
                  <c:v>2322</c:v>
                </c:pt>
                <c:pt idx="14">
                  <c:v>2429</c:v>
                </c:pt>
                <c:pt idx="15">
                  <c:v>3065</c:v>
                </c:pt>
                <c:pt idx="16">
                  <c:v>4723</c:v>
                </c:pt>
                <c:pt idx="17">
                  <c:v>6423</c:v>
                </c:pt>
                <c:pt idx="18">
                  <c:v>8710</c:v>
                </c:pt>
                <c:pt idx="19">
                  <c:v>11004</c:v>
                </c:pt>
                <c:pt idx="20">
                  <c:v>12512</c:v>
                </c:pt>
                <c:pt idx="21">
                  <c:v>14164</c:v>
                </c:pt>
                <c:pt idx="22">
                  <c:v>18921</c:v>
                </c:pt>
                <c:pt idx="23">
                  <c:v>24631</c:v>
                </c:pt>
                <c:pt idx="24">
                  <c:v>31226</c:v>
                </c:pt>
                <c:pt idx="25">
                  <c:v>39525</c:v>
                </c:pt>
                <c:pt idx="26">
                  <c:v>48480</c:v>
                </c:pt>
                <c:pt idx="27">
                  <c:v>50950</c:v>
                </c:pt>
                <c:pt idx="28">
                  <c:v>52787</c:v>
                </c:pt>
                <c:pt idx="29">
                  <c:v>58936</c:v>
                </c:pt>
                <c:pt idx="30">
                  <c:v>65298</c:v>
                </c:pt>
                <c:pt idx="31">
                  <c:v>70795</c:v>
                </c:pt>
                <c:pt idx="32">
                  <c:v>75437</c:v>
                </c:pt>
                <c:pt idx="33">
                  <c:v>79778</c:v>
                </c:pt>
                <c:pt idx="34">
                  <c:v>80406</c:v>
                </c:pt>
                <c:pt idx="35">
                  <c:v>81065</c:v>
                </c:pt>
                <c:pt idx="36">
                  <c:v>84004</c:v>
                </c:pt>
                <c:pt idx="37">
                  <c:v>87330</c:v>
                </c:pt>
                <c:pt idx="38">
                  <c:v>90927</c:v>
                </c:pt>
                <c:pt idx="39">
                  <c:v>95704</c:v>
                </c:pt>
                <c:pt idx="40">
                  <c:v>100449</c:v>
                </c:pt>
                <c:pt idx="41">
                  <c:v>102228</c:v>
                </c:pt>
                <c:pt idx="42">
                  <c:v>104335</c:v>
                </c:pt>
                <c:pt idx="43">
                  <c:v>110398</c:v>
                </c:pt>
                <c:pt idx="44">
                  <c:v>117996</c:v>
                </c:pt>
                <c:pt idx="45">
                  <c:v>126730</c:v>
                </c:pt>
                <c:pt idx="46">
                  <c:v>137938</c:v>
                </c:pt>
                <c:pt idx="47">
                  <c:v>149317</c:v>
                </c:pt>
                <c:pt idx="48">
                  <c:v>152228</c:v>
                </c:pt>
                <c:pt idx="49">
                  <c:v>154019</c:v>
                </c:pt>
                <c:pt idx="50">
                  <c:v>162906</c:v>
                </c:pt>
                <c:pt idx="51">
                  <c:v>173482</c:v>
                </c:pt>
                <c:pt idx="52">
                  <c:v>183642</c:v>
                </c:pt>
                <c:pt idx="53">
                  <c:v>195403</c:v>
                </c:pt>
                <c:pt idx="54">
                  <c:v>206554</c:v>
                </c:pt>
                <c:pt idx="55">
                  <c:v>208737</c:v>
                </c:pt>
                <c:pt idx="56">
                  <c:v>210362</c:v>
                </c:pt>
                <c:pt idx="57">
                  <c:v>220356</c:v>
                </c:pt>
                <c:pt idx="58">
                  <c:v>232311</c:v>
                </c:pt>
                <c:pt idx="59">
                  <c:v>243484</c:v>
                </c:pt>
                <c:pt idx="60">
                  <c:v>256809</c:v>
                </c:pt>
                <c:pt idx="61">
                  <c:v>268184</c:v>
                </c:pt>
                <c:pt idx="62">
                  <c:v>270397</c:v>
                </c:pt>
                <c:pt idx="63">
                  <c:v>272058</c:v>
                </c:pt>
                <c:pt idx="64">
                  <c:v>281980</c:v>
                </c:pt>
                <c:pt idx="65">
                  <c:v>291844</c:v>
                </c:pt>
                <c:pt idx="66">
                  <c:v>302182</c:v>
                </c:pt>
                <c:pt idx="67">
                  <c:v>312955</c:v>
                </c:pt>
                <c:pt idx="68">
                  <c:v>321746</c:v>
                </c:pt>
                <c:pt idx="69">
                  <c:v>324271</c:v>
                </c:pt>
                <c:pt idx="70">
                  <c:v>326501</c:v>
                </c:pt>
                <c:pt idx="71">
                  <c:v>334273</c:v>
                </c:pt>
                <c:pt idx="72">
                  <c:v>343713</c:v>
                </c:pt>
                <c:pt idx="73">
                  <c:v>353865</c:v>
                </c:pt>
                <c:pt idx="74">
                  <c:v>364489</c:v>
                </c:pt>
                <c:pt idx="75">
                  <c:v>372966</c:v>
                </c:pt>
                <c:pt idx="76">
                  <c:v>375347</c:v>
                </c:pt>
                <c:pt idx="77">
                  <c:v>376996</c:v>
                </c:pt>
                <c:pt idx="78">
                  <c:v>384492</c:v>
                </c:pt>
                <c:pt idx="79">
                  <c:v>394509</c:v>
                </c:pt>
                <c:pt idx="80">
                  <c:v>403999</c:v>
                </c:pt>
                <c:pt idx="81">
                  <c:v>415362</c:v>
                </c:pt>
                <c:pt idx="82">
                  <c:v>426240</c:v>
                </c:pt>
                <c:pt idx="83">
                  <c:v>428610</c:v>
                </c:pt>
                <c:pt idx="84">
                  <c:v>430219</c:v>
                </c:pt>
                <c:pt idx="85">
                  <c:v>437912</c:v>
                </c:pt>
                <c:pt idx="86">
                  <c:v>445759</c:v>
                </c:pt>
                <c:pt idx="87">
                  <c:v>453688</c:v>
                </c:pt>
                <c:pt idx="88">
                  <c:v>463387</c:v>
                </c:pt>
                <c:pt idx="89">
                  <c:v>471085</c:v>
                </c:pt>
                <c:pt idx="90">
                  <c:v>472951</c:v>
                </c:pt>
                <c:pt idx="91">
                  <c:v>474284</c:v>
                </c:pt>
                <c:pt idx="92">
                  <c:v>480774</c:v>
                </c:pt>
                <c:pt idx="93">
                  <c:v>487107</c:v>
                </c:pt>
                <c:pt idx="94">
                  <c:v>494025</c:v>
                </c:pt>
                <c:pt idx="95">
                  <c:v>501240</c:v>
                </c:pt>
                <c:pt idx="96">
                  <c:v>503284</c:v>
                </c:pt>
                <c:pt idx="97">
                  <c:v>504771</c:v>
                </c:pt>
                <c:pt idx="98">
                  <c:v>506101</c:v>
                </c:pt>
                <c:pt idx="99">
                  <c:v>507004</c:v>
                </c:pt>
                <c:pt idx="100">
                  <c:v>511404</c:v>
                </c:pt>
                <c:pt idx="101">
                  <c:v>515790</c:v>
                </c:pt>
                <c:pt idx="102">
                  <c:v>521914</c:v>
                </c:pt>
                <c:pt idx="103">
                  <c:v>526908</c:v>
                </c:pt>
                <c:pt idx="104">
                  <c:v>528692</c:v>
                </c:pt>
                <c:pt idx="105">
                  <c:v>529761</c:v>
                </c:pt>
                <c:pt idx="106">
                  <c:v>533168</c:v>
                </c:pt>
                <c:pt idx="107">
                  <c:v>536766</c:v>
                </c:pt>
                <c:pt idx="108">
                  <c:v>540182</c:v>
                </c:pt>
                <c:pt idx="109">
                  <c:v>544235</c:v>
                </c:pt>
                <c:pt idx="110">
                  <c:v>547557</c:v>
                </c:pt>
                <c:pt idx="111">
                  <c:v>548274</c:v>
                </c:pt>
                <c:pt idx="112">
                  <c:v>548814</c:v>
                </c:pt>
                <c:pt idx="113">
                  <c:v>551139</c:v>
                </c:pt>
                <c:pt idx="114">
                  <c:v>553571</c:v>
                </c:pt>
                <c:pt idx="115">
                  <c:v>555857</c:v>
                </c:pt>
                <c:pt idx="116">
                  <c:v>558461</c:v>
                </c:pt>
                <c:pt idx="117">
                  <c:v>560328</c:v>
                </c:pt>
                <c:pt idx="118">
                  <c:v>560905</c:v>
                </c:pt>
                <c:pt idx="119">
                  <c:v>561251</c:v>
                </c:pt>
                <c:pt idx="120">
                  <c:v>562728</c:v>
                </c:pt>
                <c:pt idx="121">
                  <c:v>564392</c:v>
                </c:pt>
                <c:pt idx="122">
                  <c:v>566330</c:v>
                </c:pt>
                <c:pt idx="123">
                  <c:v>568602</c:v>
                </c:pt>
                <c:pt idx="124">
                  <c:v>570022</c:v>
                </c:pt>
                <c:pt idx="125">
                  <c:v>570375</c:v>
                </c:pt>
                <c:pt idx="126">
                  <c:v>570721</c:v>
                </c:pt>
                <c:pt idx="127">
                  <c:v>571870</c:v>
                </c:pt>
                <c:pt idx="128">
                  <c:v>573610</c:v>
                </c:pt>
                <c:pt idx="129">
                  <c:v>575476</c:v>
                </c:pt>
                <c:pt idx="130">
                  <c:v>577751</c:v>
                </c:pt>
                <c:pt idx="131">
                  <c:v>579552</c:v>
                </c:pt>
                <c:pt idx="132">
                  <c:v>579918</c:v>
                </c:pt>
                <c:pt idx="133">
                  <c:v>580276</c:v>
                </c:pt>
                <c:pt idx="134">
                  <c:v>582253</c:v>
                </c:pt>
                <c:pt idx="135">
                  <c:v>584867</c:v>
                </c:pt>
                <c:pt idx="136">
                  <c:v>587492</c:v>
                </c:pt>
                <c:pt idx="137">
                  <c:v>590123</c:v>
                </c:pt>
                <c:pt idx="138">
                  <c:v>592163</c:v>
                </c:pt>
                <c:pt idx="139">
                  <c:v>592925</c:v>
                </c:pt>
                <c:pt idx="140">
                  <c:v>593585</c:v>
                </c:pt>
                <c:pt idx="141">
                  <c:v>595318</c:v>
                </c:pt>
                <c:pt idx="142">
                  <c:v>597831</c:v>
                </c:pt>
                <c:pt idx="143">
                  <c:v>600989</c:v>
                </c:pt>
                <c:pt idx="144">
                  <c:v>604644</c:v>
                </c:pt>
                <c:pt idx="145">
                  <c:v>607221</c:v>
                </c:pt>
                <c:pt idx="146">
                  <c:v>607890</c:v>
                </c:pt>
                <c:pt idx="147">
                  <c:v>608366</c:v>
                </c:pt>
                <c:pt idx="148">
                  <c:v>611277</c:v>
                </c:pt>
                <c:pt idx="149">
                  <c:v>614840</c:v>
                </c:pt>
                <c:pt idx="150">
                  <c:v>618272</c:v>
                </c:pt>
                <c:pt idx="151">
                  <c:v>621733</c:v>
                </c:pt>
                <c:pt idx="152">
                  <c:v>624412</c:v>
                </c:pt>
                <c:pt idx="153">
                  <c:v>624905</c:v>
                </c:pt>
                <c:pt idx="154">
                  <c:v>625394</c:v>
                </c:pt>
                <c:pt idx="155">
                  <c:v>627516</c:v>
                </c:pt>
                <c:pt idx="156">
                  <c:v>630468</c:v>
                </c:pt>
                <c:pt idx="157">
                  <c:v>634125</c:v>
                </c:pt>
                <c:pt idx="158">
                  <c:v>637730</c:v>
                </c:pt>
                <c:pt idx="159">
                  <c:v>640295</c:v>
                </c:pt>
                <c:pt idx="160">
                  <c:v>640889</c:v>
                </c:pt>
                <c:pt idx="161">
                  <c:v>641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55–59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5:$FG$5</c:f>
              <c:numCache>
                <c:formatCode>General</c:formatCode>
                <c:ptCount val="162"/>
                <c:pt idx="0">
                  <c:v>107</c:v>
                </c:pt>
                <c:pt idx="1">
                  <c:v>309</c:v>
                </c:pt>
                <c:pt idx="2">
                  <c:v>643</c:v>
                </c:pt>
                <c:pt idx="3">
                  <c:v>1016</c:v>
                </c:pt>
                <c:pt idx="4">
                  <c:v>1129</c:v>
                </c:pt>
                <c:pt idx="5">
                  <c:v>1159</c:v>
                </c:pt>
                <c:pt idx="6">
                  <c:v>1286</c:v>
                </c:pt>
                <c:pt idx="7">
                  <c:v>1386</c:v>
                </c:pt>
                <c:pt idx="8">
                  <c:v>1808</c:v>
                </c:pt>
                <c:pt idx="9">
                  <c:v>2329</c:v>
                </c:pt>
                <c:pt idx="10">
                  <c:v>2980</c:v>
                </c:pt>
                <c:pt idx="11">
                  <c:v>3818</c:v>
                </c:pt>
                <c:pt idx="12">
                  <c:v>4829</c:v>
                </c:pt>
                <c:pt idx="13">
                  <c:v>5043</c:v>
                </c:pt>
                <c:pt idx="14">
                  <c:v>5230</c:v>
                </c:pt>
                <c:pt idx="15">
                  <c:v>6267</c:v>
                </c:pt>
                <c:pt idx="16">
                  <c:v>7533</c:v>
                </c:pt>
                <c:pt idx="17">
                  <c:v>8877</c:v>
                </c:pt>
                <c:pt idx="18">
                  <c:v>10365</c:v>
                </c:pt>
                <c:pt idx="19">
                  <c:v>11745</c:v>
                </c:pt>
                <c:pt idx="20">
                  <c:v>11934</c:v>
                </c:pt>
                <c:pt idx="21">
                  <c:v>12073</c:v>
                </c:pt>
                <c:pt idx="22">
                  <c:v>13103</c:v>
                </c:pt>
                <c:pt idx="23">
                  <c:v>14263</c:v>
                </c:pt>
                <c:pt idx="24">
                  <c:v>15436</c:v>
                </c:pt>
                <c:pt idx="25">
                  <c:v>16506</c:v>
                </c:pt>
                <c:pt idx="26">
                  <c:v>17354</c:v>
                </c:pt>
                <c:pt idx="27">
                  <c:v>17550</c:v>
                </c:pt>
                <c:pt idx="28">
                  <c:v>17683</c:v>
                </c:pt>
                <c:pt idx="29">
                  <c:v>18421</c:v>
                </c:pt>
                <c:pt idx="30">
                  <c:v>19396</c:v>
                </c:pt>
                <c:pt idx="31">
                  <c:v>20348</c:v>
                </c:pt>
                <c:pt idx="32">
                  <c:v>21279</c:v>
                </c:pt>
                <c:pt idx="33">
                  <c:v>22414</c:v>
                </c:pt>
                <c:pt idx="34">
                  <c:v>22560</c:v>
                </c:pt>
                <c:pt idx="35">
                  <c:v>22681</c:v>
                </c:pt>
                <c:pt idx="36">
                  <c:v>23652</c:v>
                </c:pt>
                <c:pt idx="37">
                  <c:v>24859</c:v>
                </c:pt>
                <c:pt idx="38">
                  <c:v>26226</c:v>
                </c:pt>
                <c:pt idx="39">
                  <c:v>27711</c:v>
                </c:pt>
                <c:pt idx="40">
                  <c:v>29012</c:v>
                </c:pt>
                <c:pt idx="41">
                  <c:v>29162</c:v>
                </c:pt>
                <c:pt idx="42">
                  <c:v>29305</c:v>
                </c:pt>
                <c:pt idx="43">
                  <c:v>30374</c:v>
                </c:pt>
                <c:pt idx="44">
                  <c:v>31476</c:v>
                </c:pt>
                <c:pt idx="45">
                  <c:v>32703</c:v>
                </c:pt>
                <c:pt idx="46">
                  <c:v>33948</c:v>
                </c:pt>
                <c:pt idx="47">
                  <c:v>35092</c:v>
                </c:pt>
                <c:pt idx="48">
                  <c:v>35283</c:v>
                </c:pt>
                <c:pt idx="49">
                  <c:v>35363</c:v>
                </c:pt>
                <c:pt idx="50">
                  <c:v>36081</c:v>
                </c:pt>
                <c:pt idx="51">
                  <c:v>36832</c:v>
                </c:pt>
                <c:pt idx="52">
                  <c:v>37729</c:v>
                </c:pt>
                <c:pt idx="53">
                  <c:v>38688</c:v>
                </c:pt>
                <c:pt idx="54">
                  <c:v>39584</c:v>
                </c:pt>
                <c:pt idx="55">
                  <c:v>39675</c:v>
                </c:pt>
                <c:pt idx="56">
                  <c:v>39718</c:v>
                </c:pt>
                <c:pt idx="57">
                  <c:v>40415</c:v>
                </c:pt>
                <c:pt idx="58">
                  <c:v>41246</c:v>
                </c:pt>
                <c:pt idx="59">
                  <c:v>42189</c:v>
                </c:pt>
                <c:pt idx="60">
                  <c:v>43256</c:v>
                </c:pt>
                <c:pt idx="61">
                  <c:v>44318</c:v>
                </c:pt>
                <c:pt idx="62">
                  <c:v>44432</c:v>
                </c:pt>
                <c:pt idx="63">
                  <c:v>44639</c:v>
                </c:pt>
                <c:pt idx="64">
                  <c:v>46305</c:v>
                </c:pt>
                <c:pt idx="65">
                  <c:v>49504</c:v>
                </c:pt>
                <c:pt idx="66">
                  <c:v>52184</c:v>
                </c:pt>
                <c:pt idx="67">
                  <c:v>54656</c:v>
                </c:pt>
                <c:pt idx="68">
                  <c:v>56883</c:v>
                </c:pt>
                <c:pt idx="69">
                  <c:v>58003</c:v>
                </c:pt>
                <c:pt idx="70">
                  <c:v>58895</c:v>
                </c:pt>
                <c:pt idx="71">
                  <c:v>61147</c:v>
                </c:pt>
                <c:pt idx="72">
                  <c:v>63618</c:v>
                </c:pt>
                <c:pt idx="73">
                  <c:v>66220</c:v>
                </c:pt>
                <c:pt idx="74">
                  <c:v>68862</c:v>
                </c:pt>
                <c:pt idx="75">
                  <c:v>71191</c:v>
                </c:pt>
                <c:pt idx="76">
                  <c:v>72147</c:v>
                </c:pt>
                <c:pt idx="77">
                  <c:v>72784</c:v>
                </c:pt>
                <c:pt idx="78">
                  <c:v>74384</c:v>
                </c:pt>
                <c:pt idx="79">
                  <c:v>76773</c:v>
                </c:pt>
                <c:pt idx="80">
                  <c:v>79010</c:v>
                </c:pt>
                <c:pt idx="81">
                  <c:v>81201</c:v>
                </c:pt>
                <c:pt idx="82">
                  <c:v>83678</c:v>
                </c:pt>
                <c:pt idx="83">
                  <c:v>84530</c:v>
                </c:pt>
                <c:pt idx="84">
                  <c:v>84873</c:v>
                </c:pt>
                <c:pt idx="85">
                  <c:v>86904</c:v>
                </c:pt>
                <c:pt idx="86">
                  <c:v>89131</c:v>
                </c:pt>
                <c:pt idx="87">
                  <c:v>91383</c:v>
                </c:pt>
                <c:pt idx="88">
                  <c:v>93582</c:v>
                </c:pt>
                <c:pt idx="89">
                  <c:v>95993</c:v>
                </c:pt>
                <c:pt idx="90">
                  <c:v>96777</c:v>
                </c:pt>
                <c:pt idx="91">
                  <c:v>97447</c:v>
                </c:pt>
                <c:pt idx="92">
                  <c:v>99806</c:v>
                </c:pt>
                <c:pt idx="93">
                  <c:v>102560</c:v>
                </c:pt>
                <c:pt idx="94">
                  <c:v>105447</c:v>
                </c:pt>
                <c:pt idx="95">
                  <c:v>108645</c:v>
                </c:pt>
                <c:pt idx="96">
                  <c:v>109766</c:v>
                </c:pt>
                <c:pt idx="97">
                  <c:v>110627</c:v>
                </c:pt>
                <c:pt idx="98">
                  <c:v>111329</c:v>
                </c:pt>
                <c:pt idx="99">
                  <c:v>111805</c:v>
                </c:pt>
                <c:pt idx="100">
                  <c:v>114544</c:v>
                </c:pt>
                <c:pt idx="101">
                  <c:v>117230</c:v>
                </c:pt>
                <c:pt idx="102">
                  <c:v>120263</c:v>
                </c:pt>
                <c:pt idx="103">
                  <c:v>123985</c:v>
                </c:pt>
                <c:pt idx="104">
                  <c:v>125480</c:v>
                </c:pt>
                <c:pt idx="105">
                  <c:v>126310</c:v>
                </c:pt>
                <c:pt idx="106">
                  <c:v>129350</c:v>
                </c:pt>
                <c:pt idx="107">
                  <c:v>132471</c:v>
                </c:pt>
                <c:pt idx="108">
                  <c:v>135543</c:v>
                </c:pt>
                <c:pt idx="109">
                  <c:v>139196</c:v>
                </c:pt>
                <c:pt idx="110">
                  <c:v>143571</c:v>
                </c:pt>
                <c:pt idx="111">
                  <c:v>145393</c:v>
                </c:pt>
                <c:pt idx="112">
                  <c:v>146327</c:v>
                </c:pt>
                <c:pt idx="113">
                  <c:v>149461</c:v>
                </c:pt>
                <c:pt idx="114">
                  <c:v>152567</c:v>
                </c:pt>
                <c:pt idx="115">
                  <c:v>155779</c:v>
                </c:pt>
                <c:pt idx="116">
                  <c:v>159589</c:v>
                </c:pt>
                <c:pt idx="117">
                  <c:v>163260</c:v>
                </c:pt>
                <c:pt idx="118">
                  <c:v>164208</c:v>
                </c:pt>
                <c:pt idx="119">
                  <c:v>165063</c:v>
                </c:pt>
                <c:pt idx="120">
                  <c:v>167319</c:v>
                </c:pt>
                <c:pt idx="121">
                  <c:v>169763</c:v>
                </c:pt>
                <c:pt idx="122">
                  <c:v>172916</c:v>
                </c:pt>
                <c:pt idx="123">
                  <c:v>179428</c:v>
                </c:pt>
                <c:pt idx="124">
                  <c:v>187626</c:v>
                </c:pt>
                <c:pt idx="125">
                  <c:v>192012</c:v>
                </c:pt>
                <c:pt idx="126">
                  <c:v>196364</c:v>
                </c:pt>
                <c:pt idx="127">
                  <c:v>214028</c:v>
                </c:pt>
                <c:pt idx="128">
                  <c:v>233702</c:v>
                </c:pt>
                <c:pt idx="129">
                  <c:v>255724</c:v>
                </c:pt>
                <c:pt idx="130">
                  <c:v>278721</c:v>
                </c:pt>
                <c:pt idx="131">
                  <c:v>300864</c:v>
                </c:pt>
                <c:pt idx="132">
                  <c:v>308387</c:v>
                </c:pt>
                <c:pt idx="133">
                  <c:v>314925</c:v>
                </c:pt>
                <c:pt idx="134">
                  <c:v>330641</c:v>
                </c:pt>
                <c:pt idx="135">
                  <c:v>345886</c:v>
                </c:pt>
                <c:pt idx="136">
                  <c:v>359227</c:v>
                </c:pt>
                <c:pt idx="137">
                  <c:v>371223</c:v>
                </c:pt>
                <c:pt idx="138">
                  <c:v>384375</c:v>
                </c:pt>
                <c:pt idx="139">
                  <c:v>388730</c:v>
                </c:pt>
                <c:pt idx="140">
                  <c:v>392306</c:v>
                </c:pt>
                <c:pt idx="141">
                  <c:v>400191</c:v>
                </c:pt>
                <c:pt idx="142">
                  <c:v>408018</c:v>
                </c:pt>
                <c:pt idx="143">
                  <c:v>415645</c:v>
                </c:pt>
                <c:pt idx="144">
                  <c:v>423254</c:v>
                </c:pt>
                <c:pt idx="145">
                  <c:v>430738</c:v>
                </c:pt>
                <c:pt idx="146">
                  <c:v>434280</c:v>
                </c:pt>
                <c:pt idx="147">
                  <c:v>436729</c:v>
                </c:pt>
                <c:pt idx="148">
                  <c:v>441915</c:v>
                </c:pt>
                <c:pt idx="149">
                  <c:v>448396</c:v>
                </c:pt>
                <c:pt idx="150">
                  <c:v>455268</c:v>
                </c:pt>
                <c:pt idx="151">
                  <c:v>462354</c:v>
                </c:pt>
                <c:pt idx="152">
                  <c:v>469423</c:v>
                </c:pt>
                <c:pt idx="153">
                  <c:v>472285</c:v>
                </c:pt>
                <c:pt idx="154">
                  <c:v>474351</c:v>
                </c:pt>
                <c:pt idx="155">
                  <c:v>479776</c:v>
                </c:pt>
                <c:pt idx="156">
                  <c:v>485442</c:v>
                </c:pt>
                <c:pt idx="157">
                  <c:v>491261</c:v>
                </c:pt>
                <c:pt idx="158">
                  <c:v>497122</c:v>
                </c:pt>
                <c:pt idx="159">
                  <c:v>503374</c:v>
                </c:pt>
                <c:pt idx="160">
                  <c:v>505494</c:v>
                </c:pt>
                <c:pt idx="161">
                  <c:v>506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60–64</c:v>
                </c:pt>
              </c:strCache>
            </c:strRef>
          </c:tx>
          <c:spPr>
            <a:ln w="28575" cap="rnd">
              <a:solidFill>
                <a:srgbClr val="FFCC99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6:$FG$6</c:f>
              <c:numCache>
                <c:formatCode>General</c:formatCode>
                <c:ptCount val="162"/>
                <c:pt idx="0">
                  <c:v>96</c:v>
                </c:pt>
                <c:pt idx="1">
                  <c:v>278</c:v>
                </c:pt>
                <c:pt idx="2">
                  <c:v>526</c:v>
                </c:pt>
                <c:pt idx="3">
                  <c:v>821</c:v>
                </c:pt>
                <c:pt idx="4">
                  <c:v>906</c:v>
                </c:pt>
                <c:pt idx="5">
                  <c:v>929</c:v>
                </c:pt>
                <c:pt idx="6">
                  <c:v>1036</c:v>
                </c:pt>
                <c:pt idx="7">
                  <c:v>1099</c:v>
                </c:pt>
                <c:pt idx="8">
                  <c:v>1389</c:v>
                </c:pt>
                <c:pt idx="9">
                  <c:v>1727</c:v>
                </c:pt>
                <c:pt idx="10">
                  <c:v>2189</c:v>
                </c:pt>
                <c:pt idx="11">
                  <c:v>2857</c:v>
                </c:pt>
                <c:pt idx="12">
                  <c:v>3606</c:v>
                </c:pt>
                <c:pt idx="13">
                  <c:v>3786</c:v>
                </c:pt>
                <c:pt idx="14">
                  <c:v>3928</c:v>
                </c:pt>
                <c:pt idx="15">
                  <c:v>4720</c:v>
                </c:pt>
                <c:pt idx="16">
                  <c:v>5742</c:v>
                </c:pt>
                <c:pt idx="17">
                  <c:v>6713</c:v>
                </c:pt>
                <c:pt idx="18">
                  <c:v>7838</c:v>
                </c:pt>
                <c:pt idx="19">
                  <c:v>8954</c:v>
                </c:pt>
                <c:pt idx="20">
                  <c:v>9136</c:v>
                </c:pt>
                <c:pt idx="21">
                  <c:v>9276</c:v>
                </c:pt>
                <c:pt idx="22">
                  <c:v>10181</c:v>
                </c:pt>
                <c:pt idx="23">
                  <c:v>11083</c:v>
                </c:pt>
                <c:pt idx="24">
                  <c:v>12051</c:v>
                </c:pt>
                <c:pt idx="25">
                  <c:v>12836</c:v>
                </c:pt>
                <c:pt idx="26">
                  <c:v>13403</c:v>
                </c:pt>
                <c:pt idx="27">
                  <c:v>13555</c:v>
                </c:pt>
                <c:pt idx="28">
                  <c:v>13655</c:v>
                </c:pt>
                <c:pt idx="29">
                  <c:v>14195</c:v>
                </c:pt>
                <c:pt idx="30">
                  <c:v>14901</c:v>
                </c:pt>
                <c:pt idx="31">
                  <c:v>15580</c:v>
                </c:pt>
                <c:pt idx="32">
                  <c:v>16353</c:v>
                </c:pt>
                <c:pt idx="33">
                  <c:v>17214</c:v>
                </c:pt>
                <c:pt idx="34">
                  <c:v>17330</c:v>
                </c:pt>
                <c:pt idx="35">
                  <c:v>17436</c:v>
                </c:pt>
                <c:pt idx="36">
                  <c:v>18214</c:v>
                </c:pt>
                <c:pt idx="37">
                  <c:v>19170</c:v>
                </c:pt>
                <c:pt idx="38">
                  <c:v>20135</c:v>
                </c:pt>
                <c:pt idx="39">
                  <c:v>21234</c:v>
                </c:pt>
                <c:pt idx="40">
                  <c:v>22326</c:v>
                </c:pt>
                <c:pt idx="41">
                  <c:v>22467</c:v>
                </c:pt>
                <c:pt idx="42">
                  <c:v>22566</c:v>
                </c:pt>
                <c:pt idx="43">
                  <c:v>23462</c:v>
                </c:pt>
                <c:pt idx="44">
                  <c:v>24306</c:v>
                </c:pt>
                <c:pt idx="45">
                  <c:v>25257</c:v>
                </c:pt>
                <c:pt idx="46">
                  <c:v>26315</c:v>
                </c:pt>
                <c:pt idx="47">
                  <c:v>27198</c:v>
                </c:pt>
                <c:pt idx="48">
                  <c:v>27342</c:v>
                </c:pt>
                <c:pt idx="49">
                  <c:v>27398</c:v>
                </c:pt>
                <c:pt idx="50">
                  <c:v>27990</c:v>
                </c:pt>
                <c:pt idx="51">
                  <c:v>28604</c:v>
                </c:pt>
                <c:pt idx="52">
                  <c:v>29284</c:v>
                </c:pt>
                <c:pt idx="53">
                  <c:v>30114</c:v>
                </c:pt>
                <c:pt idx="54">
                  <c:v>30759</c:v>
                </c:pt>
                <c:pt idx="55">
                  <c:v>30845</c:v>
                </c:pt>
                <c:pt idx="56">
                  <c:v>30886</c:v>
                </c:pt>
                <c:pt idx="57">
                  <c:v>31440</c:v>
                </c:pt>
                <c:pt idx="58">
                  <c:v>32120</c:v>
                </c:pt>
                <c:pt idx="59">
                  <c:v>32958</c:v>
                </c:pt>
                <c:pt idx="60">
                  <c:v>33826</c:v>
                </c:pt>
                <c:pt idx="61">
                  <c:v>34687</c:v>
                </c:pt>
                <c:pt idx="62">
                  <c:v>34778</c:v>
                </c:pt>
                <c:pt idx="63">
                  <c:v>34910</c:v>
                </c:pt>
                <c:pt idx="64">
                  <c:v>36352</c:v>
                </c:pt>
                <c:pt idx="65">
                  <c:v>39050</c:v>
                </c:pt>
                <c:pt idx="66">
                  <c:v>41422</c:v>
                </c:pt>
                <c:pt idx="67">
                  <c:v>43963</c:v>
                </c:pt>
                <c:pt idx="68">
                  <c:v>45867</c:v>
                </c:pt>
                <c:pt idx="69">
                  <c:v>46689</c:v>
                </c:pt>
                <c:pt idx="70">
                  <c:v>47361</c:v>
                </c:pt>
                <c:pt idx="71">
                  <c:v>49202</c:v>
                </c:pt>
                <c:pt idx="72">
                  <c:v>51313</c:v>
                </c:pt>
                <c:pt idx="73">
                  <c:v>53216</c:v>
                </c:pt>
                <c:pt idx="74">
                  <c:v>55308</c:v>
                </c:pt>
                <c:pt idx="75">
                  <c:v>56999</c:v>
                </c:pt>
                <c:pt idx="76">
                  <c:v>57600</c:v>
                </c:pt>
                <c:pt idx="77">
                  <c:v>57966</c:v>
                </c:pt>
                <c:pt idx="78">
                  <c:v>59115</c:v>
                </c:pt>
                <c:pt idx="79">
                  <c:v>60813</c:v>
                </c:pt>
                <c:pt idx="80">
                  <c:v>62420</c:v>
                </c:pt>
                <c:pt idx="81">
                  <c:v>63971</c:v>
                </c:pt>
                <c:pt idx="82">
                  <c:v>65859</c:v>
                </c:pt>
                <c:pt idx="83">
                  <c:v>66283</c:v>
                </c:pt>
                <c:pt idx="84">
                  <c:v>66473</c:v>
                </c:pt>
                <c:pt idx="85">
                  <c:v>68130</c:v>
                </c:pt>
                <c:pt idx="86">
                  <c:v>69898</c:v>
                </c:pt>
                <c:pt idx="87">
                  <c:v>71956</c:v>
                </c:pt>
                <c:pt idx="88">
                  <c:v>74061</c:v>
                </c:pt>
                <c:pt idx="89">
                  <c:v>76195</c:v>
                </c:pt>
                <c:pt idx="90">
                  <c:v>76693</c:v>
                </c:pt>
                <c:pt idx="91">
                  <c:v>77137</c:v>
                </c:pt>
                <c:pt idx="92">
                  <c:v>79468</c:v>
                </c:pt>
                <c:pt idx="93">
                  <c:v>82132</c:v>
                </c:pt>
                <c:pt idx="94">
                  <c:v>84645</c:v>
                </c:pt>
                <c:pt idx="95">
                  <c:v>87538</c:v>
                </c:pt>
                <c:pt idx="96">
                  <c:v>88319</c:v>
                </c:pt>
                <c:pt idx="97">
                  <c:v>89006</c:v>
                </c:pt>
                <c:pt idx="98">
                  <c:v>89431</c:v>
                </c:pt>
                <c:pt idx="99">
                  <c:v>89860</c:v>
                </c:pt>
                <c:pt idx="100">
                  <c:v>92135</c:v>
                </c:pt>
                <c:pt idx="101">
                  <c:v>94366</c:v>
                </c:pt>
                <c:pt idx="102">
                  <c:v>97504</c:v>
                </c:pt>
                <c:pt idx="103">
                  <c:v>100860</c:v>
                </c:pt>
                <c:pt idx="104">
                  <c:v>102093</c:v>
                </c:pt>
                <c:pt idx="105">
                  <c:v>102800</c:v>
                </c:pt>
                <c:pt idx="106">
                  <c:v>106015</c:v>
                </c:pt>
                <c:pt idx="107">
                  <c:v>109102</c:v>
                </c:pt>
                <c:pt idx="108">
                  <c:v>112419</c:v>
                </c:pt>
                <c:pt idx="109">
                  <c:v>116495</c:v>
                </c:pt>
                <c:pt idx="110">
                  <c:v>121133</c:v>
                </c:pt>
                <c:pt idx="111">
                  <c:v>122423</c:v>
                </c:pt>
                <c:pt idx="112">
                  <c:v>123272</c:v>
                </c:pt>
                <c:pt idx="113">
                  <c:v>126783</c:v>
                </c:pt>
                <c:pt idx="114">
                  <c:v>130326</c:v>
                </c:pt>
                <c:pt idx="115">
                  <c:v>134276</c:v>
                </c:pt>
                <c:pt idx="116">
                  <c:v>138807</c:v>
                </c:pt>
                <c:pt idx="117">
                  <c:v>143274</c:v>
                </c:pt>
                <c:pt idx="118">
                  <c:v>145178</c:v>
                </c:pt>
                <c:pt idx="119">
                  <c:v>148124</c:v>
                </c:pt>
                <c:pt idx="120">
                  <c:v>157125</c:v>
                </c:pt>
                <c:pt idx="121">
                  <c:v>170070</c:v>
                </c:pt>
                <c:pt idx="122">
                  <c:v>187370</c:v>
                </c:pt>
                <c:pt idx="123">
                  <c:v>209936</c:v>
                </c:pt>
                <c:pt idx="124">
                  <c:v>231396</c:v>
                </c:pt>
                <c:pt idx="125">
                  <c:v>238264</c:v>
                </c:pt>
                <c:pt idx="126">
                  <c:v>244105</c:v>
                </c:pt>
                <c:pt idx="127">
                  <c:v>265579</c:v>
                </c:pt>
                <c:pt idx="128">
                  <c:v>283178</c:v>
                </c:pt>
                <c:pt idx="129">
                  <c:v>302905</c:v>
                </c:pt>
                <c:pt idx="130">
                  <c:v>320777</c:v>
                </c:pt>
                <c:pt idx="131">
                  <c:v>337682</c:v>
                </c:pt>
                <c:pt idx="132">
                  <c:v>342461</c:v>
                </c:pt>
                <c:pt idx="133">
                  <c:v>346458</c:v>
                </c:pt>
                <c:pt idx="134">
                  <c:v>358001</c:v>
                </c:pt>
                <c:pt idx="135">
                  <c:v>369372</c:v>
                </c:pt>
                <c:pt idx="136">
                  <c:v>379184</c:v>
                </c:pt>
                <c:pt idx="137">
                  <c:v>388289</c:v>
                </c:pt>
                <c:pt idx="138">
                  <c:v>396332</c:v>
                </c:pt>
                <c:pt idx="139">
                  <c:v>399014</c:v>
                </c:pt>
                <c:pt idx="140">
                  <c:v>401038</c:v>
                </c:pt>
                <c:pt idx="141">
                  <c:v>406468</c:v>
                </c:pt>
                <c:pt idx="142">
                  <c:v>412327</c:v>
                </c:pt>
                <c:pt idx="143">
                  <c:v>418125</c:v>
                </c:pt>
                <c:pt idx="144">
                  <c:v>424346</c:v>
                </c:pt>
                <c:pt idx="145">
                  <c:v>429934</c:v>
                </c:pt>
                <c:pt idx="146">
                  <c:v>432499</c:v>
                </c:pt>
                <c:pt idx="147">
                  <c:v>434288</c:v>
                </c:pt>
                <c:pt idx="148">
                  <c:v>439206</c:v>
                </c:pt>
                <c:pt idx="149">
                  <c:v>444904</c:v>
                </c:pt>
                <c:pt idx="150">
                  <c:v>451153</c:v>
                </c:pt>
                <c:pt idx="151">
                  <c:v>457892</c:v>
                </c:pt>
                <c:pt idx="152">
                  <c:v>464304</c:v>
                </c:pt>
                <c:pt idx="153">
                  <c:v>466339</c:v>
                </c:pt>
                <c:pt idx="154">
                  <c:v>467866</c:v>
                </c:pt>
                <c:pt idx="155">
                  <c:v>473074</c:v>
                </c:pt>
                <c:pt idx="156">
                  <c:v>478659</c:v>
                </c:pt>
                <c:pt idx="157">
                  <c:v>484601</c:v>
                </c:pt>
                <c:pt idx="158">
                  <c:v>490626</c:v>
                </c:pt>
                <c:pt idx="159">
                  <c:v>496457</c:v>
                </c:pt>
                <c:pt idx="160">
                  <c:v>499060</c:v>
                </c:pt>
                <c:pt idx="161">
                  <c:v>502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50–54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7:$FG$7</c:f>
              <c:numCache>
                <c:formatCode>General</c:formatCode>
                <c:ptCount val="162"/>
                <c:pt idx="0">
                  <c:v>142</c:v>
                </c:pt>
                <c:pt idx="1">
                  <c:v>384</c:v>
                </c:pt>
                <c:pt idx="2">
                  <c:v>741</c:v>
                </c:pt>
                <c:pt idx="3">
                  <c:v>1107</c:v>
                </c:pt>
                <c:pt idx="4">
                  <c:v>1227</c:v>
                </c:pt>
                <c:pt idx="5">
                  <c:v>1260</c:v>
                </c:pt>
                <c:pt idx="6">
                  <c:v>1404</c:v>
                </c:pt>
                <c:pt idx="7">
                  <c:v>1515</c:v>
                </c:pt>
                <c:pt idx="8">
                  <c:v>1928</c:v>
                </c:pt>
                <c:pt idx="9">
                  <c:v>2494</c:v>
                </c:pt>
                <c:pt idx="10">
                  <c:v>3210</c:v>
                </c:pt>
                <c:pt idx="11">
                  <c:v>4133</c:v>
                </c:pt>
                <c:pt idx="12">
                  <c:v>5250</c:v>
                </c:pt>
                <c:pt idx="13">
                  <c:v>5443</c:v>
                </c:pt>
                <c:pt idx="14">
                  <c:v>5630</c:v>
                </c:pt>
                <c:pt idx="15">
                  <c:v>6695</c:v>
                </c:pt>
                <c:pt idx="16">
                  <c:v>8013</c:v>
                </c:pt>
                <c:pt idx="17">
                  <c:v>9443</c:v>
                </c:pt>
                <c:pt idx="18">
                  <c:v>10947</c:v>
                </c:pt>
                <c:pt idx="19">
                  <c:v>12393</c:v>
                </c:pt>
                <c:pt idx="20">
                  <c:v>12605</c:v>
                </c:pt>
                <c:pt idx="21">
                  <c:v>12766</c:v>
                </c:pt>
                <c:pt idx="22">
                  <c:v>13876</c:v>
                </c:pt>
                <c:pt idx="23">
                  <c:v>15018</c:v>
                </c:pt>
                <c:pt idx="24">
                  <c:v>16184</c:v>
                </c:pt>
                <c:pt idx="25">
                  <c:v>17294</c:v>
                </c:pt>
                <c:pt idx="26">
                  <c:v>18093</c:v>
                </c:pt>
                <c:pt idx="27">
                  <c:v>18302</c:v>
                </c:pt>
                <c:pt idx="28">
                  <c:v>18452</c:v>
                </c:pt>
                <c:pt idx="29">
                  <c:v>19159</c:v>
                </c:pt>
                <c:pt idx="30">
                  <c:v>20180</c:v>
                </c:pt>
                <c:pt idx="31">
                  <c:v>21185</c:v>
                </c:pt>
                <c:pt idx="32">
                  <c:v>22183</c:v>
                </c:pt>
                <c:pt idx="33">
                  <c:v>23402</c:v>
                </c:pt>
                <c:pt idx="34">
                  <c:v>23520</c:v>
                </c:pt>
                <c:pt idx="35">
                  <c:v>23650</c:v>
                </c:pt>
                <c:pt idx="36">
                  <c:v>24690</c:v>
                </c:pt>
                <c:pt idx="37">
                  <c:v>25965</c:v>
                </c:pt>
                <c:pt idx="38">
                  <c:v>27362</c:v>
                </c:pt>
                <c:pt idx="39">
                  <c:v>28907</c:v>
                </c:pt>
                <c:pt idx="40">
                  <c:v>30295</c:v>
                </c:pt>
                <c:pt idx="41">
                  <c:v>30451</c:v>
                </c:pt>
                <c:pt idx="42">
                  <c:v>30575</c:v>
                </c:pt>
                <c:pt idx="43">
                  <c:v>31627</c:v>
                </c:pt>
                <c:pt idx="44">
                  <c:v>32688</c:v>
                </c:pt>
                <c:pt idx="45">
                  <c:v>33863</c:v>
                </c:pt>
                <c:pt idx="46">
                  <c:v>35109</c:v>
                </c:pt>
                <c:pt idx="47">
                  <c:v>36269</c:v>
                </c:pt>
                <c:pt idx="48">
                  <c:v>36454</c:v>
                </c:pt>
                <c:pt idx="49">
                  <c:v>36538</c:v>
                </c:pt>
                <c:pt idx="50">
                  <c:v>37301</c:v>
                </c:pt>
                <c:pt idx="51">
                  <c:v>38090</c:v>
                </c:pt>
                <c:pt idx="52">
                  <c:v>38994</c:v>
                </c:pt>
                <c:pt idx="53">
                  <c:v>39938</c:v>
                </c:pt>
                <c:pt idx="54">
                  <c:v>40841</c:v>
                </c:pt>
                <c:pt idx="55">
                  <c:v>40931</c:v>
                </c:pt>
                <c:pt idx="56">
                  <c:v>40976</c:v>
                </c:pt>
                <c:pt idx="57">
                  <c:v>41653</c:v>
                </c:pt>
                <c:pt idx="58">
                  <c:v>42548</c:v>
                </c:pt>
                <c:pt idx="59">
                  <c:v>43481</c:v>
                </c:pt>
                <c:pt idx="60">
                  <c:v>44549</c:v>
                </c:pt>
                <c:pt idx="61">
                  <c:v>45543</c:v>
                </c:pt>
                <c:pt idx="62">
                  <c:v>45651</c:v>
                </c:pt>
                <c:pt idx="63">
                  <c:v>45813</c:v>
                </c:pt>
                <c:pt idx="64">
                  <c:v>46992</c:v>
                </c:pt>
                <c:pt idx="65">
                  <c:v>48787</c:v>
                </c:pt>
                <c:pt idx="66">
                  <c:v>50719</c:v>
                </c:pt>
                <c:pt idx="67">
                  <c:v>52454</c:v>
                </c:pt>
                <c:pt idx="68">
                  <c:v>54122</c:v>
                </c:pt>
                <c:pt idx="69">
                  <c:v>54867</c:v>
                </c:pt>
                <c:pt idx="70">
                  <c:v>55612</c:v>
                </c:pt>
                <c:pt idx="71">
                  <c:v>57249</c:v>
                </c:pt>
                <c:pt idx="72">
                  <c:v>59551</c:v>
                </c:pt>
                <c:pt idx="73">
                  <c:v>61419</c:v>
                </c:pt>
                <c:pt idx="74">
                  <c:v>63604</c:v>
                </c:pt>
                <c:pt idx="75">
                  <c:v>65617</c:v>
                </c:pt>
                <c:pt idx="76">
                  <c:v>66388</c:v>
                </c:pt>
                <c:pt idx="77">
                  <c:v>67005</c:v>
                </c:pt>
                <c:pt idx="78">
                  <c:v>68375</c:v>
                </c:pt>
                <c:pt idx="79">
                  <c:v>70669</c:v>
                </c:pt>
                <c:pt idx="80">
                  <c:v>72709</c:v>
                </c:pt>
                <c:pt idx="81">
                  <c:v>74839</c:v>
                </c:pt>
                <c:pt idx="82">
                  <c:v>77087</c:v>
                </c:pt>
                <c:pt idx="83">
                  <c:v>78090</c:v>
                </c:pt>
                <c:pt idx="84">
                  <c:v>78511</c:v>
                </c:pt>
                <c:pt idx="85">
                  <c:v>80253</c:v>
                </c:pt>
                <c:pt idx="86">
                  <c:v>82052</c:v>
                </c:pt>
                <c:pt idx="87">
                  <c:v>83866</c:v>
                </c:pt>
                <c:pt idx="88">
                  <c:v>85643</c:v>
                </c:pt>
                <c:pt idx="89">
                  <c:v>87771</c:v>
                </c:pt>
                <c:pt idx="90">
                  <c:v>88279</c:v>
                </c:pt>
                <c:pt idx="91">
                  <c:v>88759</c:v>
                </c:pt>
                <c:pt idx="92">
                  <c:v>90472</c:v>
                </c:pt>
                <c:pt idx="93">
                  <c:v>92858</c:v>
                </c:pt>
                <c:pt idx="94">
                  <c:v>95013</c:v>
                </c:pt>
                <c:pt idx="95">
                  <c:v>97534</c:v>
                </c:pt>
                <c:pt idx="96">
                  <c:v>98436</c:v>
                </c:pt>
                <c:pt idx="97">
                  <c:v>99136</c:v>
                </c:pt>
                <c:pt idx="98">
                  <c:v>99700</c:v>
                </c:pt>
                <c:pt idx="99">
                  <c:v>100217</c:v>
                </c:pt>
                <c:pt idx="100">
                  <c:v>102461</c:v>
                </c:pt>
                <c:pt idx="101">
                  <c:v>104648</c:v>
                </c:pt>
                <c:pt idx="102">
                  <c:v>107345</c:v>
                </c:pt>
                <c:pt idx="103">
                  <c:v>110529</c:v>
                </c:pt>
                <c:pt idx="104">
                  <c:v>111800</c:v>
                </c:pt>
                <c:pt idx="105">
                  <c:v>112687</c:v>
                </c:pt>
                <c:pt idx="106">
                  <c:v>115312</c:v>
                </c:pt>
                <c:pt idx="107">
                  <c:v>118430</c:v>
                </c:pt>
                <c:pt idx="108">
                  <c:v>121412</c:v>
                </c:pt>
                <c:pt idx="109">
                  <c:v>124563</c:v>
                </c:pt>
                <c:pt idx="110">
                  <c:v>128560</c:v>
                </c:pt>
                <c:pt idx="111">
                  <c:v>130379</c:v>
                </c:pt>
                <c:pt idx="112">
                  <c:v>131242</c:v>
                </c:pt>
                <c:pt idx="113">
                  <c:v>134209</c:v>
                </c:pt>
                <c:pt idx="114">
                  <c:v>136934</c:v>
                </c:pt>
                <c:pt idx="115">
                  <c:v>139642</c:v>
                </c:pt>
                <c:pt idx="116">
                  <c:v>142784</c:v>
                </c:pt>
                <c:pt idx="117">
                  <c:v>146116</c:v>
                </c:pt>
                <c:pt idx="118">
                  <c:v>147018</c:v>
                </c:pt>
                <c:pt idx="119">
                  <c:v>147727</c:v>
                </c:pt>
                <c:pt idx="120">
                  <c:v>149450</c:v>
                </c:pt>
                <c:pt idx="121">
                  <c:v>151433</c:v>
                </c:pt>
                <c:pt idx="122">
                  <c:v>153872</c:v>
                </c:pt>
                <c:pt idx="123">
                  <c:v>156436</c:v>
                </c:pt>
                <c:pt idx="124">
                  <c:v>159259</c:v>
                </c:pt>
                <c:pt idx="125">
                  <c:v>160058</c:v>
                </c:pt>
                <c:pt idx="126">
                  <c:v>160781</c:v>
                </c:pt>
                <c:pt idx="127">
                  <c:v>163069</c:v>
                </c:pt>
                <c:pt idx="128">
                  <c:v>165721</c:v>
                </c:pt>
                <c:pt idx="129">
                  <c:v>169526</c:v>
                </c:pt>
                <c:pt idx="130">
                  <c:v>179447</c:v>
                </c:pt>
                <c:pt idx="131">
                  <c:v>191721</c:v>
                </c:pt>
                <c:pt idx="132">
                  <c:v>199309</c:v>
                </c:pt>
                <c:pt idx="133">
                  <c:v>205828</c:v>
                </c:pt>
                <c:pt idx="134">
                  <c:v>228790</c:v>
                </c:pt>
                <c:pt idx="135">
                  <c:v>252043</c:v>
                </c:pt>
                <c:pt idx="136">
                  <c:v>277950</c:v>
                </c:pt>
                <c:pt idx="137">
                  <c:v>300626</c:v>
                </c:pt>
                <c:pt idx="138">
                  <c:v>322947</c:v>
                </c:pt>
                <c:pt idx="139">
                  <c:v>330850</c:v>
                </c:pt>
                <c:pt idx="140">
                  <c:v>336842</c:v>
                </c:pt>
                <c:pt idx="141">
                  <c:v>350354</c:v>
                </c:pt>
                <c:pt idx="142">
                  <c:v>363201</c:v>
                </c:pt>
                <c:pt idx="143">
                  <c:v>375238</c:v>
                </c:pt>
                <c:pt idx="144">
                  <c:v>386118</c:v>
                </c:pt>
                <c:pt idx="145">
                  <c:v>397230</c:v>
                </c:pt>
                <c:pt idx="146">
                  <c:v>401453</c:v>
                </c:pt>
                <c:pt idx="147">
                  <c:v>404702</c:v>
                </c:pt>
                <c:pt idx="148">
                  <c:v>410645</c:v>
                </c:pt>
                <c:pt idx="149">
                  <c:v>417045</c:v>
                </c:pt>
                <c:pt idx="150">
                  <c:v>425080</c:v>
                </c:pt>
                <c:pt idx="151">
                  <c:v>432693</c:v>
                </c:pt>
                <c:pt idx="152">
                  <c:v>441060</c:v>
                </c:pt>
                <c:pt idx="153">
                  <c:v>444697</c:v>
                </c:pt>
                <c:pt idx="154">
                  <c:v>447439</c:v>
                </c:pt>
                <c:pt idx="155">
                  <c:v>453640</c:v>
                </c:pt>
                <c:pt idx="156">
                  <c:v>459819</c:v>
                </c:pt>
                <c:pt idx="157">
                  <c:v>466013</c:v>
                </c:pt>
                <c:pt idx="158">
                  <c:v>471937</c:v>
                </c:pt>
                <c:pt idx="159">
                  <c:v>478605</c:v>
                </c:pt>
                <c:pt idx="160">
                  <c:v>481010</c:v>
                </c:pt>
                <c:pt idx="161">
                  <c:v>4826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40–44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8:$FG$8</c:f>
              <c:numCache>
                <c:formatCode>General</c:formatCode>
                <c:ptCount val="162"/>
                <c:pt idx="0">
                  <c:v>176</c:v>
                </c:pt>
                <c:pt idx="1">
                  <c:v>467</c:v>
                </c:pt>
                <c:pt idx="2">
                  <c:v>899</c:v>
                </c:pt>
                <c:pt idx="3">
                  <c:v>1379</c:v>
                </c:pt>
                <c:pt idx="4">
                  <c:v>1533</c:v>
                </c:pt>
                <c:pt idx="5">
                  <c:v>1578</c:v>
                </c:pt>
                <c:pt idx="6">
                  <c:v>1778</c:v>
                </c:pt>
                <c:pt idx="7">
                  <c:v>1927</c:v>
                </c:pt>
                <c:pt idx="8">
                  <c:v>2443</c:v>
                </c:pt>
                <c:pt idx="9">
                  <c:v>3084</c:v>
                </c:pt>
                <c:pt idx="10">
                  <c:v>3917</c:v>
                </c:pt>
                <c:pt idx="11">
                  <c:v>4910</c:v>
                </c:pt>
                <c:pt idx="12">
                  <c:v>6184</c:v>
                </c:pt>
                <c:pt idx="13">
                  <c:v>6389</c:v>
                </c:pt>
                <c:pt idx="14">
                  <c:v>6596</c:v>
                </c:pt>
                <c:pt idx="15">
                  <c:v>7922</c:v>
                </c:pt>
                <c:pt idx="16">
                  <c:v>9491</c:v>
                </c:pt>
                <c:pt idx="17">
                  <c:v>10956</c:v>
                </c:pt>
                <c:pt idx="18">
                  <c:v>12541</c:v>
                </c:pt>
                <c:pt idx="19">
                  <c:v>13953</c:v>
                </c:pt>
                <c:pt idx="20">
                  <c:v>14164</c:v>
                </c:pt>
                <c:pt idx="21">
                  <c:v>14330</c:v>
                </c:pt>
                <c:pt idx="22">
                  <c:v>15545</c:v>
                </c:pt>
                <c:pt idx="23">
                  <c:v>16701</c:v>
                </c:pt>
                <c:pt idx="24">
                  <c:v>17793</c:v>
                </c:pt>
                <c:pt idx="25">
                  <c:v>18877</c:v>
                </c:pt>
                <c:pt idx="26">
                  <c:v>19733</c:v>
                </c:pt>
                <c:pt idx="27">
                  <c:v>19943</c:v>
                </c:pt>
                <c:pt idx="28">
                  <c:v>20107</c:v>
                </c:pt>
                <c:pt idx="29">
                  <c:v>20929</c:v>
                </c:pt>
                <c:pt idx="30">
                  <c:v>21932</c:v>
                </c:pt>
                <c:pt idx="31">
                  <c:v>22993</c:v>
                </c:pt>
                <c:pt idx="32">
                  <c:v>24090</c:v>
                </c:pt>
                <c:pt idx="33">
                  <c:v>25377</c:v>
                </c:pt>
                <c:pt idx="34">
                  <c:v>25508</c:v>
                </c:pt>
                <c:pt idx="35">
                  <c:v>25646</c:v>
                </c:pt>
                <c:pt idx="36">
                  <c:v>26875</c:v>
                </c:pt>
                <c:pt idx="37">
                  <c:v>28282</c:v>
                </c:pt>
                <c:pt idx="38">
                  <c:v>29766</c:v>
                </c:pt>
                <c:pt idx="39">
                  <c:v>31370</c:v>
                </c:pt>
                <c:pt idx="40">
                  <c:v>32754</c:v>
                </c:pt>
                <c:pt idx="41">
                  <c:v>32916</c:v>
                </c:pt>
                <c:pt idx="42">
                  <c:v>33038</c:v>
                </c:pt>
                <c:pt idx="43">
                  <c:v>34230</c:v>
                </c:pt>
                <c:pt idx="44">
                  <c:v>35390</c:v>
                </c:pt>
                <c:pt idx="45">
                  <c:v>36537</c:v>
                </c:pt>
                <c:pt idx="46">
                  <c:v>37779</c:v>
                </c:pt>
                <c:pt idx="47">
                  <c:v>38944</c:v>
                </c:pt>
                <c:pt idx="48">
                  <c:v>39106</c:v>
                </c:pt>
                <c:pt idx="49">
                  <c:v>39155</c:v>
                </c:pt>
                <c:pt idx="50">
                  <c:v>39939</c:v>
                </c:pt>
                <c:pt idx="51">
                  <c:v>40716</c:v>
                </c:pt>
                <c:pt idx="52">
                  <c:v>41496</c:v>
                </c:pt>
                <c:pt idx="53">
                  <c:v>42373</c:v>
                </c:pt>
                <c:pt idx="54">
                  <c:v>43220</c:v>
                </c:pt>
                <c:pt idx="55">
                  <c:v>43306</c:v>
                </c:pt>
                <c:pt idx="56">
                  <c:v>43330</c:v>
                </c:pt>
                <c:pt idx="57">
                  <c:v>43972</c:v>
                </c:pt>
                <c:pt idx="58">
                  <c:v>44863</c:v>
                </c:pt>
                <c:pt idx="59">
                  <c:v>45734</c:v>
                </c:pt>
                <c:pt idx="60">
                  <c:v>46801</c:v>
                </c:pt>
                <c:pt idx="61">
                  <c:v>47824</c:v>
                </c:pt>
                <c:pt idx="62">
                  <c:v>47965</c:v>
                </c:pt>
                <c:pt idx="63">
                  <c:v>48088</c:v>
                </c:pt>
                <c:pt idx="64">
                  <c:v>49303</c:v>
                </c:pt>
                <c:pt idx="65">
                  <c:v>50952</c:v>
                </c:pt>
                <c:pt idx="66">
                  <c:v>52821</c:v>
                </c:pt>
                <c:pt idx="67">
                  <c:v>54447</c:v>
                </c:pt>
                <c:pt idx="68">
                  <c:v>56035</c:v>
                </c:pt>
                <c:pt idx="69">
                  <c:v>56590</c:v>
                </c:pt>
                <c:pt idx="70">
                  <c:v>57218</c:v>
                </c:pt>
                <c:pt idx="71">
                  <c:v>58679</c:v>
                </c:pt>
                <c:pt idx="72">
                  <c:v>60519</c:v>
                </c:pt>
                <c:pt idx="73">
                  <c:v>62313</c:v>
                </c:pt>
                <c:pt idx="74">
                  <c:v>64403</c:v>
                </c:pt>
                <c:pt idx="75">
                  <c:v>66620</c:v>
                </c:pt>
                <c:pt idx="76">
                  <c:v>67284</c:v>
                </c:pt>
                <c:pt idx="77">
                  <c:v>67795</c:v>
                </c:pt>
                <c:pt idx="78">
                  <c:v>69334</c:v>
                </c:pt>
                <c:pt idx="79">
                  <c:v>71438</c:v>
                </c:pt>
                <c:pt idx="80">
                  <c:v>73210</c:v>
                </c:pt>
                <c:pt idx="81">
                  <c:v>74967</c:v>
                </c:pt>
                <c:pt idx="82">
                  <c:v>77010</c:v>
                </c:pt>
                <c:pt idx="83">
                  <c:v>77612</c:v>
                </c:pt>
                <c:pt idx="84">
                  <c:v>77888</c:v>
                </c:pt>
                <c:pt idx="85">
                  <c:v>79367</c:v>
                </c:pt>
                <c:pt idx="86">
                  <c:v>80877</c:v>
                </c:pt>
                <c:pt idx="87">
                  <c:v>82617</c:v>
                </c:pt>
                <c:pt idx="88">
                  <c:v>84480</c:v>
                </c:pt>
                <c:pt idx="89">
                  <c:v>86724</c:v>
                </c:pt>
                <c:pt idx="90">
                  <c:v>87196</c:v>
                </c:pt>
                <c:pt idx="91">
                  <c:v>87642</c:v>
                </c:pt>
                <c:pt idx="92">
                  <c:v>89368</c:v>
                </c:pt>
                <c:pt idx="93">
                  <c:v>91373</c:v>
                </c:pt>
                <c:pt idx="94">
                  <c:v>93475</c:v>
                </c:pt>
                <c:pt idx="95">
                  <c:v>95951</c:v>
                </c:pt>
                <c:pt idx="96">
                  <c:v>96849</c:v>
                </c:pt>
                <c:pt idx="97">
                  <c:v>97489</c:v>
                </c:pt>
                <c:pt idx="98">
                  <c:v>98022</c:v>
                </c:pt>
                <c:pt idx="99">
                  <c:v>98418</c:v>
                </c:pt>
                <c:pt idx="100">
                  <c:v>100304</c:v>
                </c:pt>
                <c:pt idx="101">
                  <c:v>102058</c:v>
                </c:pt>
                <c:pt idx="102">
                  <c:v>104614</c:v>
                </c:pt>
                <c:pt idx="103">
                  <c:v>107685</c:v>
                </c:pt>
                <c:pt idx="104">
                  <c:v>109247</c:v>
                </c:pt>
                <c:pt idx="105">
                  <c:v>110072</c:v>
                </c:pt>
                <c:pt idx="106">
                  <c:v>112436</c:v>
                </c:pt>
                <c:pt idx="107">
                  <c:v>115196</c:v>
                </c:pt>
                <c:pt idx="108">
                  <c:v>117652</c:v>
                </c:pt>
                <c:pt idx="109">
                  <c:v>120685</c:v>
                </c:pt>
                <c:pt idx="110">
                  <c:v>124898</c:v>
                </c:pt>
                <c:pt idx="111">
                  <c:v>126326</c:v>
                </c:pt>
                <c:pt idx="112">
                  <c:v>127374</c:v>
                </c:pt>
                <c:pt idx="113">
                  <c:v>130178</c:v>
                </c:pt>
                <c:pt idx="114">
                  <c:v>132638</c:v>
                </c:pt>
                <c:pt idx="115">
                  <c:v>135071</c:v>
                </c:pt>
                <c:pt idx="116">
                  <c:v>138066</c:v>
                </c:pt>
                <c:pt idx="117">
                  <c:v>141517</c:v>
                </c:pt>
                <c:pt idx="118">
                  <c:v>142471</c:v>
                </c:pt>
                <c:pt idx="119">
                  <c:v>143210</c:v>
                </c:pt>
                <c:pt idx="120">
                  <c:v>144911</c:v>
                </c:pt>
                <c:pt idx="121">
                  <c:v>146627</c:v>
                </c:pt>
                <c:pt idx="122">
                  <c:v>148766</c:v>
                </c:pt>
                <c:pt idx="123">
                  <c:v>151355</c:v>
                </c:pt>
                <c:pt idx="124">
                  <c:v>154109</c:v>
                </c:pt>
                <c:pt idx="125">
                  <c:v>154855</c:v>
                </c:pt>
                <c:pt idx="126">
                  <c:v>155462</c:v>
                </c:pt>
                <c:pt idx="127">
                  <c:v>157341</c:v>
                </c:pt>
                <c:pt idx="128">
                  <c:v>159615</c:v>
                </c:pt>
                <c:pt idx="129">
                  <c:v>161896</c:v>
                </c:pt>
                <c:pt idx="130">
                  <c:v>164895</c:v>
                </c:pt>
                <c:pt idx="131">
                  <c:v>168175</c:v>
                </c:pt>
                <c:pt idx="132">
                  <c:v>169301</c:v>
                </c:pt>
                <c:pt idx="133">
                  <c:v>170145</c:v>
                </c:pt>
                <c:pt idx="134">
                  <c:v>172537</c:v>
                </c:pt>
                <c:pt idx="135">
                  <c:v>175096</c:v>
                </c:pt>
                <c:pt idx="136">
                  <c:v>177609</c:v>
                </c:pt>
                <c:pt idx="137">
                  <c:v>180328</c:v>
                </c:pt>
                <c:pt idx="138">
                  <c:v>182935</c:v>
                </c:pt>
                <c:pt idx="139">
                  <c:v>183835</c:v>
                </c:pt>
                <c:pt idx="140">
                  <c:v>184495</c:v>
                </c:pt>
                <c:pt idx="141">
                  <c:v>187511</c:v>
                </c:pt>
                <c:pt idx="142">
                  <c:v>194951</c:v>
                </c:pt>
                <c:pt idx="143">
                  <c:v>209556</c:v>
                </c:pt>
                <c:pt idx="144">
                  <c:v>228946</c:v>
                </c:pt>
                <c:pt idx="145">
                  <c:v>246020</c:v>
                </c:pt>
                <c:pt idx="146">
                  <c:v>256137</c:v>
                </c:pt>
                <c:pt idx="147">
                  <c:v>262525</c:v>
                </c:pt>
                <c:pt idx="148">
                  <c:v>279344</c:v>
                </c:pt>
                <c:pt idx="149">
                  <c:v>297315</c:v>
                </c:pt>
                <c:pt idx="150">
                  <c:v>318845</c:v>
                </c:pt>
                <c:pt idx="151">
                  <c:v>338304</c:v>
                </c:pt>
                <c:pt idx="152">
                  <c:v>358919</c:v>
                </c:pt>
                <c:pt idx="153">
                  <c:v>369566</c:v>
                </c:pt>
                <c:pt idx="154">
                  <c:v>378709</c:v>
                </c:pt>
                <c:pt idx="155">
                  <c:v>398004</c:v>
                </c:pt>
                <c:pt idx="156">
                  <c:v>416419</c:v>
                </c:pt>
                <c:pt idx="157">
                  <c:v>432520</c:v>
                </c:pt>
                <c:pt idx="158">
                  <c:v>445361</c:v>
                </c:pt>
                <c:pt idx="159">
                  <c:v>461155</c:v>
                </c:pt>
                <c:pt idx="160">
                  <c:v>467163</c:v>
                </c:pt>
                <c:pt idx="161">
                  <c:v>471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45–49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9:$FG$9</c:f>
              <c:numCache>
                <c:formatCode>General</c:formatCode>
                <c:ptCount val="162"/>
                <c:pt idx="0">
                  <c:v>132</c:v>
                </c:pt>
                <c:pt idx="1">
                  <c:v>407</c:v>
                </c:pt>
                <c:pt idx="2">
                  <c:v>788</c:v>
                </c:pt>
                <c:pt idx="3">
                  <c:v>1160</c:v>
                </c:pt>
                <c:pt idx="4">
                  <c:v>1291</c:v>
                </c:pt>
                <c:pt idx="5">
                  <c:v>1324</c:v>
                </c:pt>
                <c:pt idx="6">
                  <c:v>1481</c:v>
                </c:pt>
                <c:pt idx="7">
                  <c:v>1597</c:v>
                </c:pt>
                <c:pt idx="8">
                  <c:v>2068</c:v>
                </c:pt>
                <c:pt idx="9">
                  <c:v>2624</c:v>
                </c:pt>
                <c:pt idx="10">
                  <c:v>3370</c:v>
                </c:pt>
                <c:pt idx="11">
                  <c:v>4308</c:v>
                </c:pt>
                <c:pt idx="12">
                  <c:v>5492</c:v>
                </c:pt>
                <c:pt idx="13">
                  <c:v>5703</c:v>
                </c:pt>
                <c:pt idx="14">
                  <c:v>5897</c:v>
                </c:pt>
                <c:pt idx="15">
                  <c:v>7072</c:v>
                </c:pt>
                <c:pt idx="16">
                  <c:v>8571</c:v>
                </c:pt>
                <c:pt idx="17">
                  <c:v>9958</c:v>
                </c:pt>
                <c:pt idx="18">
                  <c:v>11452</c:v>
                </c:pt>
                <c:pt idx="19">
                  <c:v>12758</c:v>
                </c:pt>
                <c:pt idx="20">
                  <c:v>12914</c:v>
                </c:pt>
                <c:pt idx="21">
                  <c:v>13069</c:v>
                </c:pt>
                <c:pt idx="22">
                  <c:v>14127</c:v>
                </c:pt>
                <c:pt idx="23">
                  <c:v>15251</c:v>
                </c:pt>
                <c:pt idx="24">
                  <c:v>16321</c:v>
                </c:pt>
                <c:pt idx="25">
                  <c:v>17312</c:v>
                </c:pt>
                <c:pt idx="26">
                  <c:v>18101</c:v>
                </c:pt>
                <c:pt idx="27">
                  <c:v>18274</c:v>
                </c:pt>
                <c:pt idx="28">
                  <c:v>18418</c:v>
                </c:pt>
                <c:pt idx="29">
                  <c:v>19204</c:v>
                </c:pt>
                <c:pt idx="30">
                  <c:v>20131</c:v>
                </c:pt>
                <c:pt idx="31">
                  <c:v>21110</c:v>
                </c:pt>
                <c:pt idx="32">
                  <c:v>22149</c:v>
                </c:pt>
                <c:pt idx="33">
                  <c:v>23437</c:v>
                </c:pt>
                <c:pt idx="34">
                  <c:v>23577</c:v>
                </c:pt>
                <c:pt idx="35">
                  <c:v>23699</c:v>
                </c:pt>
                <c:pt idx="36">
                  <c:v>24759</c:v>
                </c:pt>
                <c:pt idx="37">
                  <c:v>26169</c:v>
                </c:pt>
                <c:pt idx="38">
                  <c:v>27596</c:v>
                </c:pt>
                <c:pt idx="39">
                  <c:v>29123</c:v>
                </c:pt>
                <c:pt idx="40">
                  <c:v>30423</c:v>
                </c:pt>
                <c:pt idx="41">
                  <c:v>30565</c:v>
                </c:pt>
                <c:pt idx="42">
                  <c:v>30697</c:v>
                </c:pt>
                <c:pt idx="43">
                  <c:v>31769</c:v>
                </c:pt>
                <c:pt idx="44">
                  <c:v>32851</c:v>
                </c:pt>
                <c:pt idx="45">
                  <c:v>33981</c:v>
                </c:pt>
                <c:pt idx="46">
                  <c:v>35228</c:v>
                </c:pt>
                <c:pt idx="47">
                  <c:v>36315</c:v>
                </c:pt>
                <c:pt idx="48">
                  <c:v>36458</c:v>
                </c:pt>
                <c:pt idx="49">
                  <c:v>36504</c:v>
                </c:pt>
                <c:pt idx="50">
                  <c:v>37227</c:v>
                </c:pt>
                <c:pt idx="51">
                  <c:v>37899</c:v>
                </c:pt>
                <c:pt idx="52">
                  <c:v>38672</c:v>
                </c:pt>
                <c:pt idx="53">
                  <c:v>39526</c:v>
                </c:pt>
                <c:pt idx="54">
                  <c:v>40355</c:v>
                </c:pt>
                <c:pt idx="55">
                  <c:v>40455</c:v>
                </c:pt>
                <c:pt idx="56">
                  <c:v>40522</c:v>
                </c:pt>
                <c:pt idx="57">
                  <c:v>41091</c:v>
                </c:pt>
                <c:pt idx="58">
                  <c:v>41893</c:v>
                </c:pt>
                <c:pt idx="59">
                  <c:v>42736</c:v>
                </c:pt>
                <c:pt idx="60">
                  <c:v>43802</c:v>
                </c:pt>
                <c:pt idx="61">
                  <c:v>44747</c:v>
                </c:pt>
                <c:pt idx="62">
                  <c:v>44858</c:v>
                </c:pt>
                <c:pt idx="63">
                  <c:v>44983</c:v>
                </c:pt>
                <c:pt idx="64">
                  <c:v>46121</c:v>
                </c:pt>
                <c:pt idx="65">
                  <c:v>47671</c:v>
                </c:pt>
                <c:pt idx="66">
                  <c:v>49471</c:v>
                </c:pt>
                <c:pt idx="67">
                  <c:v>51096</c:v>
                </c:pt>
                <c:pt idx="68">
                  <c:v>52587</c:v>
                </c:pt>
                <c:pt idx="69">
                  <c:v>53116</c:v>
                </c:pt>
                <c:pt idx="70">
                  <c:v>53732</c:v>
                </c:pt>
                <c:pt idx="71">
                  <c:v>55097</c:v>
                </c:pt>
                <c:pt idx="72">
                  <c:v>57043</c:v>
                </c:pt>
                <c:pt idx="73">
                  <c:v>58634</c:v>
                </c:pt>
                <c:pt idx="74">
                  <c:v>60627</c:v>
                </c:pt>
                <c:pt idx="75">
                  <c:v>62544</c:v>
                </c:pt>
                <c:pt idx="76">
                  <c:v>63346</c:v>
                </c:pt>
                <c:pt idx="77">
                  <c:v>63804</c:v>
                </c:pt>
                <c:pt idx="78">
                  <c:v>65107</c:v>
                </c:pt>
                <c:pt idx="79">
                  <c:v>67016</c:v>
                </c:pt>
                <c:pt idx="80">
                  <c:v>68701</c:v>
                </c:pt>
                <c:pt idx="81">
                  <c:v>70382</c:v>
                </c:pt>
                <c:pt idx="82">
                  <c:v>72265</c:v>
                </c:pt>
                <c:pt idx="83">
                  <c:v>72797</c:v>
                </c:pt>
                <c:pt idx="84">
                  <c:v>73092</c:v>
                </c:pt>
                <c:pt idx="85">
                  <c:v>74574</c:v>
                </c:pt>
                <c:pt idx="86">
                  <c:v>76134</c:v>
                </c:pt>
                <c:pt idx="87">
                  <c:v>77836</c:v>
                </c:pt>
                <c:pt idx="88">
                  <c:v>79623</c:v>
                </c:pt>
                <c:pt idx="89">
                  <c:v>81622</c:v>
                </c:pt>
                <c:pt idx="90">
                  <c:v>82008</c:v>
                </c:pt>
                <c:pt idx="91">
                  <c:v>82504</c:v>
                </c:pt>
                <c:pt idx="92">
                  <c:v>84179</c:v>
                </c:pt>
                <c:pt idx="93">
                  <c:v>86518</c:v>
                </c:pt>
                <c:pt idx="94">
                  <c:v>88603</c:v>
                </c:pt>
                <c:pt idx="95">
                  <c:v>90890</c:v>
                </c:pt>
                <c:pt idx="96">
                  <c:v>91628</c:v>
                </c:pt>
                <c:pt idx="97">
                  <c:v>92264</c:v>
                </c:pt>
                <c:pt idx="98">
                  <c:v>92788</c:v>
                </c:pt>
                <c:pt idx="99">
                  <c:v>93122</c:v>
                </c:pt>
                <c:pt idx="100">
                  <c:v>95044</c:v>
                </c:pt>
                <c:pt idx="101">
                  <c:v>96914</c:v>
                </c:pt>
                <c:pt idx="102">
                  <c:v>99324</c:v>
                </c:pt>
                <c:pt idx="103">
                  <c:v>102459</c:v>
                </c:pt>
                <c:pt idx="104">
                  <c:v>103723</c:v>
                </c:pt>
                <c:pt idx="105">
                  <c:v>104462</c:v>
                </c:pt>
                <c:pt idx="106">
                  <c:v>106757</c:v>
                </c:pt>
                <c:pt idx="107">
                  <c:v>109398</c:v>
                </c:pt>
                <c:pt idx="108">
                  <c:v>111984</c:v>
                </c:pt>
                <c:pt idx="109">
                  <c:v>114822</c:v>
                </c:pt>
                <c:pt idx="110">
                  <c:v>118875</c:v>
                </c:pt>
                <c:pt idx="111">
                  <c:v>120167</c:v>
                </c:pt>
                <c:pt idx="112">
                  <c:v>121034</c:v>
                </c:pt>
                <c:pt idx="113">
                  <c:v>123564</c:v>
                </c:pt>
                <c:pt idx="114">
                  <c:v>126021</c:v>
                </c:pt>
                <c:pt idx="115">
                  <c:v>128536</c:v>
                </c:pt>
                <c:pt idx="116">
                  <c:v>131303</c:v>
                </c:pt>
                <c:pt idx="117">
                  <c:v>134167</c:v>
                </c:pt>
                <c:pt idx="118">
                  <c:v>135178</c:v>
                </c:pt>
                <c:pt idx="119">
                  <c:v>136042</c:v>
                </c:pt>
                <c:pt idx="120">
                  <c:v>137709</c:v>
                </c:pt>
                <c:pt idx="121">
                  <c:v>139686</c:v>
                </c:pt>
                <c:pt idx="122">
                  <c:v>141872</c:v>
                </c:pt>
                <c:pt idx="123">
                  <c:v>144202</c:v>
                </c:pt>
                <c:pt idx="124">
                  <c:v>146775</c:v>
                </c:pt>
                <c:pt idx="125">
                  <c:v>147438</c:v>
                </c:pt>
                <c:pt idx="126">
                  <c:v>148038</c:v>
                </c:pt>
                <c:pt idx="127">
                  <c:v>150018</c:v>
                </c:pt>
                <c:pt idx="128">
                  <c:v>152247</c:v>
                </c:pt>
                <c:pt idx="129">
                  <c:v>154731</c:v>
                </c:pt>
                <c:pt idx="130">
                  <c:v>157772</c:v>
                </c:pt>
                <c:pt idx="131">
                  <c:v>161111</c:v>
                </c:pt>
                <c:pt idx="132">
                  <c:v>162163</c:v>
                </c:pt>
                <c:pt idx="133">
                  <c:v>162916</c:v>
                </c:pt>
                <c:pt idx="134">
                  <c:v>165265</c:v>
                </c:pt>
                <c:pt idx="135">
                  <c:v>169172</c:v>
                </c:pt>
                <c:pt idx="136">
                  <c:v>178295</c:v>
                </c:pt>
                <c:pt idx="137">
                  <c:v>194945</c:v>
                </c:pt>
                <c:pt idx="138">
                  <c:v>211803</c:v>
                </c:pt>
                <c:pt idx="139">
                  <c:v>220110</c:v>
                </c:pt>
                <c:pt idx="140">
                  <c:v>227029</c:v>
                </c:pt>
                <c:pt idx="141">
                  <c:v>253035</c:v>
                </c:pt>
                <c:pt idx="142">
                  <c:v>275765</c:v>
                </c:pt>
                <c:pt idx="143">
                  <c:v>298821</c:v>
                </c:pt>
                <c:pt idx="144">
                  <c:v>318651</c:v>
                </c:pt>
                <c:pt idx="145">
                  <c:v>338937</c:v>
                </c:pt>
                <c:pt idx="146">
                  <c:v>348066</c:v>
                </c:pt>
                <c:pt idx="147">
                  <c:v>354571</c:v>
                </c:pt>
                <c:pt idx="148">
                  <c:v>366290</c:v>
                </c:pt>
                <c:pt idx="149">
                  <c:v>376882</c:v>
                </c:pt>
                <c:pt idx="150">
                  <c:v>389381</c:v>
                </c:pt>
                <c:pt idx="151">
                  <c:v>400079</c:v>
                </c:pt>
                <c:pt idx="152">
                  <c:v>412336</c:v>
                </c:pt>
                <c:pt idx="153">
                  <c:v>417597</c:v>
                </c:pt>
                <c:pt idx="154">
                  <c:v>422065</c:v>
                </c:pt>
                <c:pt idx="155">
                  <c:v>430502</c:v>
                </c:pt>
                <c:pt idx="156">
                  <c:v>438760</c:v>
                </c:pt>
                <c:pt idx="157">
                  <c:v>446922</c:v>
                </c:pt>
                <c:pt idx="158">
                  <c:v>454414</c:v>
                </c:pt>
                <c:pt idx="159">
                  <c:v>463190</c:v>
                </c:pt>
                <c:pt idx="160">
                  <c:v>466741</c:v>
                </c:pt>
                <c:pt idx="161">
                  <c:v>469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38-475B-B3D5-6E0B100F1F34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35–39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10:$FG$10</c:f>
              <c:numCache>
                <c:formatCode>General</c:formatCode>
                <c:ptCount val="162"/>
                <c:pt idx="0">
                  <c:v>92</c:v>
                </c:pt>
                <c:pt idx="1">
                  <c:v>257</c:v>
                </c:pt>
                <c:pt idx="2">
                  <c:v>512</c:v>
                </c:pt>
                <c:pt idx="3">
                  <c:v>760</c:v>
                </c:pt>
                <c:pt idx="4">
                  <c:v>851</c:v>
                </c:pt>
                <c:pt idx="5">
                  <c:v>871</c:v>
                </c:pt>
                <c:pt idx="6">
                  <c:v>971</c:v>
                </c:pt>
                <c:pt idx="7">
                  <c:v>1035</c:v>
                </c:pt>
                <c:pt idx="8">
                  <c:v>1317</c:v>
                </c:pt>
                <c:pt idx="9">
                  <c:v>1687</c:v>
                </c:pt>
                <c:pt idx="10">
                  <c:v>2118</c:v>
                </c:pt>
                <c:pt idx="11">
                  <c:v>2688</c:v>
                </c:pt>
                <c:pt idx="12">
                  <c:v>3359</c:v>
                </c:pt>
                <c:pt idx="13">
                  <c:v>3504</c:v>
                </c:pt>
                <c:pt idx="14">
                  <c:v>3617</c:v>
                </c:pt>
                <c:pt idx="15">
                  <c:v>4289</c:v>
                </c:pt>
                <c:pt idx="16">
                  <c:v>5179</c:v>
                </c:pt>
                <c:pt idx="17">
                  <c:v>6047</c:v>
                </c:pt>
                <c:pt idx="18">
                  <c:v>6907</c:v>
                </c:pt>
                <c:pt idx="19">
                  <c:v>7659</c:v>
                </c:pt>
                <c:pt idx="20">
                  <c:v>7755</c:v>
                </c:pt>
                <c:pt idx="21">
                  <c:v>7847</c:v>
                </c:pt>
                <c:pt idx="22">
                  <c:v>8461</c:v>
                </c:pt>
                <c:pt idx="23">
                  <c:v>9017</c:v>
                </c:pt>
                <c:pt idx="24">
                  <c:v>9612</c:v>
                </c:pt>
                <c:pt idx="25">
                  <c:v>10145</c:v>
                </c:pt>
                <c:pt idx="26">
                  <c:v>10573</c:v>
                </c:pt>
                <c:pt idx="27">
                  <c:v>10675</c:v>
                </c:pt>
                <c:pt idx="28">
                  <c:v>10749</c:v>
                </c:pt>
                <c:pt idx="29">
                  <c:v>11199</c:v>
                </c:pt>
                <c:pt idx="30">
                  <c:v>11749</c:v>
                </c:pt>
                <c:pt idx="31">
                  <c:v>12307</c:v>
                </c:pt>
                <c:pt idx="32">
                  <c:v>12994</c:v>
                </c:pt>
                <c:pt idx="33">
                  <c:v>13643</c:v>
                </c:pt>
                <c:pt idx="34">
                  <c:v>13712</c:v>
                </c:pt>
                <c:pt idx="35">
                  <c:v>13799</c:v>
                </c:pt>
                <c:pt idx="36">
                  <c:v>14414</c:v>
                </c:pt>
                <c:pt idx="37">
                  <c:v>15240</c:v>
                </c:pt>
                <c:pt idx="38">
                  <c:v>16071</c:v>
                </c:pt>
                <c:pt idx="39">
                  <c:v>16973</c:v>
                </c:pt>
                <c:pt idx="40">
                  <c:v>17710</c:v>
                </c:pt>
                <c:pt idx="41">
                  <c:v>17796</c:v>
                </c:pt>
                <c:pt idx="42">
                  <c:v>17864</c:v>
                </c:pt>
                <c:pt idx="43">
                  <c:v>18485</c:v>
                </c:pt>
                <c:pt idx="44">
                  <c:v>19045</c:v>
                </c:pt>
                <c:pt idx="45">
                  <c:v>19625</c:v>
                </c:pt>
                <c:pt idx="46">
                  <c:v>20294</c:v>
                </c:pt>
                <c:pt idx="47">
                  <c:v>20851</c:v>
                </c:pt>
                <c:pt idx="48">
                  <c:v>20920</c:v>
                </c:pt>
                <c:pt idx="49">
                  <c:v>20949</c:v>
                </c:pt>
                <c:pt idx="50">
                  <c:v>21360</c:v>
                </c:pt>
                <c:pt idx="51">
                  <c:v>21750</c:v>
                </c:pt>
                <c:pt idx="52">
                  <c:v>22179</c:v>
                </c:pt>
                <c:pt idx="53">
                  <c:v>22661</c:v>
                </c:pt>
                <c:pt idx="54">
                  <c:v>23133</c:v>
                </c:pt>
                <c:pt idx="55">
                  <c:v>23192</c:v>
                </c:pt>
                <c:pt idx="56">
                  <c:v>23210</c:v>
                </c:pt>
                <c:pt idx="57">
                  <c:v>23542</c:v>
                </c:pt>
                <c:pt idx="58">
                  <c:v>24067</c:v>
                </c:pt>
                <c:pt idx="59">
                  <c:v>24534</c:v>
                </c:pt>
                <c:pt idx="60">
                  <c:v>25176</c:v>
                </c:pt>
                <c:pt idx="61">
                  <c:v>25713</c:v>
                </c:pt>
                <c:pt idx="62">
                  <c:v>25773</c:v>
                </c:pt>
                <c:pt idx="63">
                  <c:v>25818</c:v>
                </c:pt>
                <c:pt idx="64">
                  <c:v>26470</c:v>
                </c:pt>
                <c:pt idx="65">
                  <c:v>27243</c:v>
                </c:pt>
                <c:pt idx="66">
                  <c:v>28096</c:v>
                </c:pt>
                <c:pt idx="67">
                  <c:v>28909</c:v>
                </c:pt>
                <c:pt idx="68">
                  <c:v>29655</c:v>
                </c:pt>
                <c:pt idx="69">
                  <c:v>29937</c:v>
                </c:pt>
                <c:pt idx="70">
                  <c:v>30215</c:v>
                </c:pt>
                <c:pt idx="71">
                  <c:v>30939</c:v>
                </c:pt>
                <c:pt idx="72">
                  <c:v>31780</c:v>
                </c:pt>
                <c:pt idx="73">
                  <c:v>32755</c:v>
                </c:pt>
                <c:pt idx="74">
                  <c:v>33828</c:v>
                </c:pt>
                <c:pt idx="75">
                  <c:v>34781</c:v>
                </c:pt>
                <c:pt idx="76">
                  <c:v>35076</c:v>
                </c:pt>
                <c:pt idx="77">
                  <c:v>35299</c:v>
                </c:pt>
                <c:pt idx="78">
                  <c:v>35985</c:v>
                </c:pt>
                <c:pt idx="79">
                  <c:v>36935</c:v>
                </c:pt>
                <c:pt idx="80">
                  <c:v>37819</c:v>
                </c:pt>
                <c:pt idx="81">
                  <c:v>38763</c:v>
                </c:pt>
                <c:pt idx="82">
                  <c:v>39826</c:v>
                </c:pt>
                <c:pt idx="83">
                  <c:v>40156</c:v>
                </c:pt>
                <c:pt idx="84">
                  <c:v>40289</c:v>
                </c:pt>
                <c:pt idx="85">
                  <c:v>40973</c:v>
                </c:pt>
                <c:pt idx="86">
                  <c:v>41776</c:v>
                </c:pt>
                <c:pt idx="87">
                  <c:v>42588</c:v>
                </c:pt>
                <c:pt idx="88">
                  <c:v>43466</c:v>
                </c:pt>
                <c:pt idx="89">
                  <c:v>44606</c:v>
                </c:pt>
                <c:pt idx="90">
                  <c:v>44878</c:v>
                </c:pt>
                <c:pt idx="91">
                  <c:v>45088</c:v>
                </c:pt>
                <c:pt idx="92">
                  <c:v>45961</c:v>
                </c:pt>
                <c:pt idx="93">
                  <c:v>46943</c:v>
                </c:pt>
                <c:pt idx="94">
                  <c:v>48049</c:v>
                </c:pt>
                <c:pt idx="95">
                  <c:v>49370</c:v>
                </c:pt>
                <c:pt idx="96">
                  <c:v>49783</c:v>
                </c:pt>
                <c:pt idx="97">
                  <c:v>50116</c:v>
                </c:pt>
                <c:pt idx="98">
                  <c:v>50337</c:v>
                </c:pt>
                <c:pt idx="99">
                  <c:v>50536</c:v>
                </c:pt>
                <c:pt idx="100">
                  <c:v>51505</c:v>
                </c:pt>
                <c:pt idx="101">
                  <c:v>52351</c:v>
                </c:pt>
                <c:pt idx="102">
                  <c:v>53756</c:v>
                </c:pt>
                <c:pt idx="103">
                  <c:v>55341</c:v>
                </c:pt>
                <c:pt idx="104">
                  <c:v>56184</c:v>
                </c:pt>
                <c:pt idx="105">
                  <c:v>56547</c:v>
                </c:pt>
                <c:pt idx="106">
                  <c:v>57654</c:v>
                </c:pt>
                <c:pt idx="107">
                  <c:v>58841</c:v>
                </c:pt>
                <c:pt idx="108">
                  <c:v>59980</c:v>
                </c:pt>
                <c:pt idx="109">
                  <c:v>61381</c:v>
                </c:pt>
                <c:pt idx="110">
                  <c:v>63329</c:v>
                </c:pt>
                <c:pt idx="111">
                  <c:v>64162</c:v>
                </c:pt>
                <c:pt idx="112">
                  <c:v>64772</c:v>
                </c:pt>
                <c:pt idx="113">
                  <c:v>66144</c:v>
                </c:pt>
                <c:pt idx="114">
                  <c:v>67411</c:v>
                </c:pt>
                <c:pt idx="115">
                  <c:v>68719</c:v>
                </c:pt>
                <c:pt idx="116">
                  <c:v>70172</c:v>
                </c:pt>
                <c:pt idx="117">
                  <c:v>72053</c:v>
                </c:pt>
                <c:pt idx="118">
                  <c:v>72548</c:v>
                </c:pt>
                <c:pt idx="119">
                  <c:v>72915</c:v>
                </c:pt>
                <c:pt idx="120">
                  <c:v>73905</c:v>
                </c:pt>
                <c:pt idx="121">
                  <c:v>74821</c:v>
                </c:pt>
                <c:pt idx="122">
                  <c:v>75908</c:v>
                </c:pt>
                <c:pt idx="123">
                  <c:v>77264</c:v>
                </c:pt>
                <c:pt idx="124">
                  <c:v>78664</c:v>
                </c:pt>
                <c:pt idx="125">
                  <c:v>79027</c:v>
                </c:pt>
                <c:pt idx="126">
                  <c:v>79336</c:v>
                </c:pt>
                <c:pt idx="127">
                  <c:v>80286</c:v>
                </c:pt>
                <c:pt idx="128">
                  <c:v>81384</c:v>
                </c:pt>
                <c:pt idx="129">
                  <c:v>82668</c:v>
                </c:pt>
                <c:pt idx="130">
                  <c:v>84125</c:v>
                </c:pt>
                <c:pt idx="131">
                  <c:v>85811</c:v>
                </c:pt>
                <c:pt idx="132">
                  <c:v>86417</c:v>
                </c:pt>
                <c:pt idx="133">
                  <c:v>86849</c:v>
                </c:pt>
                <c:pt idx="134">
                  <c:v>88231</c:v>
                </c:pt>
                <c:pt idx="135">
                  <c:v>89577</c:v>
                </c:pt>
                <c:pt idx="136">
                  <c:v>90771</c:v>
                </c:pt>
                <c:pt idx="137">
                  <c:v>92156</c:v>
                </c:pt>
                <c:pt idx="138">
                  <c:v>93470</c:v>
                </c:pt>
                <c:pt idx="139">
                  <c:v>94014</c:v>
                </c:pt>
                <c:pt idx="140">
                  <c:v>94370</c:v>
                </c:pt>
                <c:pt idx="141">
                  <c:v>95377</c:v>
                </c:pt>
                <c:pt idx="142">
                  <c:v>96550</c:v>
                </c:pt>
                <c:pt idx="143">
                  <c:v>97798</c:v>
                </c:pt>
                <c:pt idx="144">
                  <c:v>99272</c:v>
                </c:pt>
                <c:pt idx="145">
                  <c:v>101027</c:v>
                </c:pt>
                <c:pt idx="146">
                  <c:v>101632</c:v>
                </c:pt>
                <c:pt idx="147">
                  <c:v>102078</c:v>
                </c:pt>
                <c:pt idx="148">
                  <c:v>104042</c:v>
                </c:pt>
                <c:pt idx="149">
                  <c:v>108678</c:v>
                </c:pt>
                <c:pt idx="150">
                  <c:v>116200</c:v>
                </c:pt>
                <c:pt idx="151">
                  <c:v>124842</c:v>
                </c:pt>
                <c:pt idx="152">
                  <c:v>133550</c:v>
                </c:pt>
                <c:pt idx="153">
                  <c:v>137127</c:v>
                </c:pt>
                <c:pt idx="154">
                  <c:v>139414</c:v>
                </c:pt>
                <c:pt idx="155">
                  <c:v>148744</c:v>
                </c:pt>
                <c:pt idx="156">
                  <c:v>158944</c:v>
                </c:pt>
                <c:pt idx="157">
                  <c:v>171165</c:v>
                </c:pt>
                <c:pt idx="158">
                  <c:v>183476</c:v>
                </c:pt>
                <c:pt idx="159">
                  <c:v>195702</c:v>
                </c:pt>
                <c:pt idx="160">
                  <c:v>203419</c:v>
                </c:pt>
                <c:pt idx="161">
                  <c:v>208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87-472F-A228-842E61EA8DB2}"/>
            </c:ext>
          </c:extLst>
        </c:ser>
        <c:ser>
          <c:idx val="9"/>
          <c:order val="9"/>
          <c:tx>
            <c:strRef>
              <c:f>List1!$A$11</c:f>
              <c:strCache>
                <c:ptCount val="1"/>
                <c:pt idx="0">
                  <c:v>&lt;30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11:$FG$11</c:f>
              <c:numCache>
                <c:formatCode>General</c:formatCode>
                <c:ptCount val="162"/>
                <c:pt idx="0">
                  <c:v>160</c:v>
                </c:pt>
                <c:pt idx="1">
                  <c:v>427</c:v>
                </c:pt>
                <c:pt idx="2">
                  <c:v>834</c:v>
                </c:pt>
                <c:pt idx="3">
                  <c:v>1252</c:v>
                </c:pt>
                <c:pt idx="4">
                  <c:v>1405</c:v>
                </c:pt>
                <c:pt idx="5">
                  <c:v>1426</c:v>
                </c:pt>
                <c:pt idx="6">
                  <c:v>1579</c:v>
                </c:pt>
                <c:pt idx="7">
                  <c:v>1681</c:v>
                </c:pt>
                <c:pt idx="8">
                  <c:v>2040</c:v>
                </c:pt>
                <c:pt idx="9">
                  <c:v>2526</c:v>
                </c:pt>
                <c:pt idx="10">
                  <c:v>3156</c:v>
                </c:pt>
                <c:pt idx="11">
                  <c:v>4009</c:v>
                </c:pt>
                <c:pt idx="12">
                  <c:v>4983</c:v>
                </c:pt>
                <c:pt idx="13">
                  <c:v>5136</c:v>
                </c:pt>
                <c:pt idx="14">
                  <c:v>5286</c:v>
                </c:pt>
                <c:pt idx="15">
                  <c:v>6333</c:v>
                </c:pt>
                <c:pt idx="16">
                  <c:v>7468</c:v>
                </c:pt>
                <c:pt idx="17">
                  <c:v>8499</c:v>
                </c:pt>
                <c:pt idx="18">
                  <c:v>9606</c:v>
                </c:pt>
                <c:pt idx="19">
                  <c:v>10605</c:v>
                </c:pt>
                <c:pt idx="20">
                  <c:v>10741</c:v>
                </c:pt>
                <c:pt idx="21">
                  <c:v>10931</c:v>
                </c:pt>
                <c:pt idx="22">
                  <c:v>11721</c:v>
                </c:pt>
                <c:pt idx="23">
                  <c:v>12467</c:v>
                </c:pt>
                <c:pt idx="24">
                  <c:v>13251</c:v>
                </c:pt>
                <c:pt idx="25">
                  <c:v>13975</c:v>
                </c:pt>
                <c:pt idx="26">
                  <c:v>14545</c:v>
                </c:pt>
                <c:pt idx="27">
                  <c:v>14697</c:v>
                </c:pt>
                <c:pt idx="28">
                  <c:v>14822</c:v>
                </c:pt>
                <c:pt idx="29">
                  <c:v>15472</c:v>
                </c:pt>
                <c:pt idx="30">
                  <c:v>16279</c:v>
                </c:pt>
                <c:pt idx="31">
                  <c:v>17069</c:v>
                </c:pt>
                <c:pt idx="32">
                  <c:v>17950</c:v>
                </c:pt>
                <c:pt idx="33">
                  <c:v>18881</c:v>
                </c:pt>
                <c:pt idx="34">
                  <c:v>18981</c:v>
                </c:pt>
                <c:pt idx="35">
                  <c:v>19097</c:v>
                </c:pt>
                <c:pt idx="36">
                  <c:v>20055</c:v>
                </c:pt>
                <c:pt idx="37">
                  <c:v>21134</c:v>
                </c:pt>
                <c:pt idx="38">
                  <c:v>22159</c:v>
                </c:pt>
                <c:pt idx="39">
                  <c:v>23341</c:v>
                </c:pt>
                <c:pt idx="40">
                  <c:v>24348</c:v>
                </c:pt>
                <c:pt idx="41">
                  <c:v>24466</c:v>
                </c:pt>
                <c:pt idx="42">
                  <c:v>24606</c:v>
                </c:pt>
                <c:pt idx="43">
                  <c:v>25438</c:v>
                </c:pt>
                <c:pt idx="44">
                  <c:v>26151</c:v>
                </c:pt>
                <c:pt idx="45">
                  <c:v>26851</c:v>
                </c:pt>
                <c:pt idx="46">
                  <c:v>27664</c:v>
                </c:pt>
                <c:pt idx="47">
                  <c:v>28446</c:v>
                </c:pt>
                <c:pt idx="48">
                  <c:v>28589</c:v>
                </c:pt>
                <c:pt idx="49">
                  <c:v>28625</c:v>
                </c:pt>
                <c:pt idx="50">
                  <c:v>29228</c:v>
                </c:pt>
                <c:pt idx="51">
                  <c:v>29916</c:v>
                </c:pt>
                <c:pt idx="52">
                  <c:v>30601</c:v>
                </c:pt>
                <c:pt idx="53">
                  <c:v>31218</c:v>
                </c:pt>
                <c:pt idx="54">
                  <c:v>31928</c:v>
                </c:pt>
                <c:pt idx="55">
                  <c:v>32016</c:v>
                </c:pt>
                <c:pt idx="56">
                  <c:v>32039</c:v>
                </c:pt>
                <c:pt idx="57">
                  <c:v>32648</c:v>
                </c:pt>
                <c:pt idx="58">
                  <c:v>33362</c:v>
                </c:pt>
                <c:pt idx="59">
                  <c:v>34118</c:v>
                </c:pt>
                <c:pt idx="60">
                  <c:v>34987</c:v>
                </c:pt>
                <c:pt idx="61">
                  <c:v>35899</c:v>
                </c:pt>
                <c:pt idx="62">
                  <c:v>36037</c:v>
                </c:pt>
                <c:pt idx="63">
                  <c:v>36137</c:v>
                </c:pt>
                <c:pt idx="64">
                  <c:v>36901</c:v>
                </c:pt>
                <c:pt idx="65">
                  <c:v>37837</c:v>
                </c:pt>
                <c:pt idx="66">
                  <c:v>38892</c:v>
                </c:pt>
                <c:pt idx="67">
                  <c:v>39747</c:v>
                </c:pt>
                <c:pt idx="68">
                  <c:v>40696</c:v>
                </c:pt>
                <c:pt idx="69">
                  <c:v>41049</c:v>
                </c:pt>
                <c:pt idx="70">
                  <c:v>41430</c:v>
                </c:pt>
                <c:pt idx="71">
                  <c:v>42308</c:v>
                </c:pt>
                <c:pt idx="72">
                  <c:v>43442</c:v>
                </c:pt>
                <c:pt idx="73">
                  <c:v>44824</c:v>
                </c:pt>
                <c:pt idx="74">
                  <c:v>46378</c:v>
                </c:pt>
                <c:pt idx="75">
                  <c:v>47842</c:v>
                </c:pt>
                <c:pt idx="76">
                  <c:v>48277</c:v>
                </c:pt>
                <c:pt idx="77">
                  <c:v>48642</c:v>
                </c:pt>
                <c:pt idx="78">
                  <c:v>49905</c:v>
                </c:pt>
                <c:pt idx="79">
                  <c:v>51324</c:v>
                </c:pt>
                <c:pt idx="80">
                  <c:v>52707</c:v>
                </c:pt>
                <c:pt idx="81">
                  <c:v>54019</c:v>
                </c:pt>
                <c:pt idx="82">
                  <c:v>55659</c:v>
                </c:pt>
                <c:pt idx="83">
                  <c:v>56223</c:v>
                </c:pt>
                <c:pt idx="84">
                  <c:v>56505</c:v>
                </c:pt>
                <c:pt idx="85">
                  <c:v>57497</c:v>
                </c:pt>
                <c:pt idx="86">
                  <c:v>58704</c:v>
                </c:pt>
                <c:pt idx="87">
                  <c:v>59915</c:v>
                </c:pt>
                <c:pt idx="88">
                  <c:v>61199</c:v>
                </c:pt>
                <c:pt idx="89">
                  <c:v>62792</c:v>
                </c:pt>
                <c:pt idx="90">
                  <c:v>63156</c:v>
                </c:pt>
                <c:pt idx="91">
                  <c:v>63440</c:v>
                </c:pt>
                <c:pt idx="92">
                  <c:v>64510</c:v>
                </c:pt>
                <c:pt idx="93">
                  <c:v>65958</c:v>
                </c:pt>
                <c:pt idx="94">
                  <c:v>67612</c:v>
                </c:pt>
                <c:pt idx="95">
                  <c:v>69456</c:v>
                </c:pt>
                <c:pt idx="96">
                  <c:v>70010</c:v>
                </c:pt>
                <c:pt idx="97">
                  <c:v>70504</c:v>
                </c:pt>
                <c:pt idx="98">
                  <c:v>70803</c:v>
                </c:pt>
                <c:pt idx="99">
                  <c:v>71085</c:v>
                </c:pt>
                <c:pt idx="100">
                  <c:v>72700</c:v>
                </c:pt>
                <c:pt idx="101">
                  <c:v>73977</c:v>
                </c:pt>
                <c:pt idx="102">
                  <c:v>75913</c:v>
                </c:pt>
                <c:pt idx="103">
                  <c:v>78407</c:v>
                </c:pt>
                <c:pt idx="104">
                  <c:v>79248</c:v>
                </c:pt>
                <c:pt idx="105">
                  <c:v>79849</c:v>
                </c:pt>
                <c:pt idx="106">
                  <c:v>81314</c:v>
                </c:pt>
                <c:pt idx="107">
                  <c:v>82815</c:v>
                </c:pt>
                <c:pt idx="108">
                  <c:v>84297</c:v>
                </c:pt>
                <c:pt idx="109">
                  <c:v>86279</c:v>
                </c:pt>
                <c:pt idx="110">
                  <c:v>88576</c:v>
                </c:pt>
                <c:pt idx="111">
                  <c:v>89469</c:v>
                </c:pt>
                <c:pt idx="112">
                  <c:v>90208</c:v>
                </c:pt>
                <c:pt idx="113">
                  <c:v>92000</c:v>
                </c:pt>
                <c:pt idx="114">
                  <c:v>93637</c:v>
                </c:pt>
                <c:pt idx="115">
                  <c:v>95371</c:v>
                </c:pt>
                <c:pt idx="116">
                  <c:v>97523</c:v>
                </c:pt>
                <c:pt idx="117">
                  <c:v>100080</c:v>
                </c:pt>
                <c:pt idx="118">
                  <c:v>101081</c:v>
                </c:pt>
                <c:pt idx="119">
                  <c:v>101677</c:v>
                </c:pt>
                <c:pt idx="120">
                  <c:v>103097</c:v>
                </c:pt>
                <c:pt idx="121">
                  <c:v>104405</c:v>
                </c:pt>
                <c:pt idx="122">
                  <c:v>106014</c:v>
                </c:pt>
                <c:pt idx="123">
                  <c:v>107674</c:v>
                </c:pt>
                <c:pt idx="124">
                  <c:v>109679</c:v>
                </c:pt>
                <c:pt idx="125">
                  <c:v>110167</c:v>
                </c:pt>
                <c:pt idx="126">
                  <c:v>110670</c:v>
                </c:pt>
                <c:pt idx="127">
                  <c:v>111976</c:v>
                </c:pt>
                <c:pt idx="128">
                  <c:v>113373</c:v>
                </c:pt>
                <c:pt idx="129">
                  <c:v>115023</c:v>
                </c:pt>
                <c:pt idx="130">
                  <c:v>116819</c:v>
                </c:pt>
                <c:pt idx="131">
                  <c:v>119176</c:v>
                </c:pt>
                <c:pt idx="132">
                  <c:v>119991</c:v>
                </c:pt>
                <c:pt idx="133">
                  <c:v>120632</c:v>
                </c:pt>
                <c:pt idx="134">
                  <c:v>122282</c:v>
                </c:pt>
                <c:pt idx="135">
                  <c:v>124046</c:v>
                </c:pt>
                <c:pt idx="136">
                  <c:v>125806</c:v>
                </c:pt>
                <c:pt idx="137">
                  <c:v>127882</c:v>
                </c:pt>
                <c:pt idx="138">
                  <c:v>129862</c:v>
                </c:pt>
                <c:pt idx="139">
                  <c:v>130926</c:v>
                </c:pt>
                <c:pt idx="140">
                  <c:v>131549</c:v>
                </c:pt>
                <c:pt idx="141">
                  <c:v>133047</c:v>
                </c:pt>
                <c:pt idx="142">
                  <c:v>134827</c:v>
                </c:pt>
                <c:pt idx="143">
                  <c:v>136610</c:v>
                </c:pt>
                <c:pt idx="144">
                  <c:v>138981</c:v>
                </c:pt>
                <c:pt idx="145">
                  <c:v>141588</c:v>
                </c:pt>
                <c:pt idx="146">
                  <c:v>142526</c:v>
                </c:pt>
                <c:pt idx="147">
                  <c:v>143295</c:v>
                </c:pt>
                <c:pt idx="148">
                  <c:v>145162</c:v>
                </c:pt>
                <c:pt idx="149">
                  <c:v>147172</c:v>
                </c:pt>
                <c:pt idx="150">
                  <c:v>149725</c:v>
                </c:pt>
                <c:pt idx="151">
                  <c:v>152605</c:v>
                </c:pt>
                <c:pt idx="152">
                  <c:v>155943</c:v>
                </c:pt>
                <c:pt idx="153">
                  <c:v>157232</c:v>
                </c:pt>
                <c:pt idx="154">
                  <c:v>158258</c:v>
                </c:pt>
                <c:pt idx="155">
                  <c:v>161050</c:v>
                </c:pt>
                <c:pt idx="156">
                  <c:v>164089</c:v>
                </c:pt>
                <c:pt idx="157">
                  <c:v>167453</c:v>
                </c:pt>
                <c:pt idx="158">
                  <c:v>171090</c:v>
                </c:pt>
                <c:pt idx="159">
                  <c:v>177303</c:v>
                </c:pt>
                <c:pt idx="160">
                  <c:v>181338</c:v>
                </c:pt>
                <c:pt idx="161">
                  <c:v>185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11-4592-A267-E0FEEF560F48}"/>
            </c:ext>
          </c:extLst>
        </c:ser>
        <c:ser>
          <c:idx val="10"/>
          <c:order val="10"/>
          <c:tx>
            <c:strRef>
              <c:f>List1!$A$12</c:f>
              <c:strCache>
                <c:ptCount val="1"/>
                <c:pt idx="0">
                  <c:v>30–34</c:v>
                </c:pt>
              </c:strCache>
            </c:strRef>
          </c:tx>
          <c:spPr>
            <a:ln w="28575" cap="rnd">
              <a:solidFill>
                <a:srgbClr val="CC99FF"/>
              </a:solidFill>
              <a:round/>
            </a:ln>
            <a:effectLst/>
          </c:spPr>
          <c:marker>
            <c:symbol val="none"/>
          </c:marker>
          <c:cat>
            <c:strRef>
              <c:f>List1!$B$1:$FG$1</c:f>
              <c:strCache>
                <c:ptCount val="162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</c:strCache>
            </c:strRef>
          </c:cat>
          <c:val>
            <c:numRef>
              <c:f>List1!$B$12:$FG$12</c:f>
              <c:numCache>
                <c:formatCode>General</c:formatCode>
                <c:ptCount val="162"/>
                <c:pt idx="0">
                  <c:v>109</c:v>
                </c:pt>
                <c:pt idx="1">
                  <c:v>333</c:v>
                </c:pt>
                <c:pt idx="2">
                  <c:v>609</c:v>
                </c:pt>
                <c:pt idx="3">
                  <c:v>866</c:v>
                </c:pt>
                <c:pt idx="4">
                  <c:v>975</c:v>
                </c:pt>
                <c:pt idx="5">
                  <c:v>992</c:v>
                </c:pt>
                <c:pt idx="6">
                  <c:v>1095</c:v>
                </c:pt>
                <c:pt idx="7">
                  <c:v>1180</c:v>
                </c:pt>
                <c:pt idx="8">
                  <c:v>1468</c:v>
                </c:pt>
                <c:pt idx="9">
                  <c:v>1833</c:v>
                </c:pt>
                <c:pt idx="10">
                  <c:v>2272</c:v>
                </c:pt>
                <c:pt idx="11">
                  <c:v>2837</c:v>
                </c:pt>
                <c:pt idx="12">
                  <c:v>3500</c:v>
                </c:pt>
                <c:pt idx="13">
                  <c:v>3610</c:v>
                </c:pt>
                <c:pt idx="14">
                  <c:v>3720</c:v>
                </c:pt>
                <c:pt idx="15">
                  <c:v>4383</c:v>
                </c:pt>
                <c:pt idx="16">
                  <c:v>5212</c:v>
                </c:pt>
                <c:pt idx="17">
                  <c:v>5976</c:v>
                </c:pt>
                <c:pt idx="18">
                  <c:v>6751</c:v>
                </c:pt>
                <c:pt idx="19">
                  <c:v>7456</c:v>
                </c:pt>
                <c:pt idx="20">
                  <c:v>7544</c:v>
                </c:pt>
                <c:pt idx="21">
                  <c:v>7666</c:v>
                </c:pt>
                <c:pt idx="22">
                  <c:v>8280</c:v>
                </c:pt>
                <c:pt idx="23">
                  <c:v>8838</c:v>
                </c:pt>
                <c:pt idx="24">
                  <c:v>9376</c:v>
                </c:pt>
                <c:pt idx="25">
                  <c:v>9862</c:v>
                </c:pt>
                <c:pt idx="26">
                  <c:v>10244</c:v>
                </c:pt>
                <c:pt idx="27">
                  <c:v>10339</c:v>
                </c:pt>
                <c:pt idx="28">
                  <c:v>10433</c:v>
                </c:pt>
                <c:pt idx="29">
                  <c:v>10884</c:v>
                </c:pt>
                <c:pt idx="30">
                  <c:v>11420</c:v>
                </c:pt>
                <c:pt idx="31">
                  <c:v>11960</c:v>
                </c:pt>
                <c:pt idx="32">
                  <c:v>12544</c:v>
                </c:pt>
                <c:pt idx="33">
                  <c:v>13194</c:v>
                </c:pt>
                <c:pt idx="34">
                  <c:v>13262</c:v>
                </c:pt>
                <c:pt idx="35">
                  <c:v>13347</c:v>
                </c:pt>
                <c:pt idx="36">
                  <c:v>13977</c:v>
                </c:pt>
                <c:pt idx="37">
                  <c:v>14696</c:v>
                </c:pt>
                <c:pt idx="38">
                  <c:v>15461</c:v>
                </c:pt>
                <c:pt idx="39">
                  <c:v>16294</c:v>
                </c:pt>
                <c:pt idx="40">
                  <c:v>16970</c:v>
                </c:pt>
                <c:pt idx="41">
                  <c:v>17063</c:v>
                </c:pt>
                <c:pt idx="42">
                  <c:v>17140</c:v>
                </c:pt>
                <c:pt idx="43">
                  <c:v>17719</c:v>
                </c:pt>
                <c:pt idx="44">
                  <c:v>18285</c:v>
                </c:pt>
                <c:pt idx="45">
                  <c:v>18777</c:v>
                </c:pt>
                <c:pt idx="46">
                  <c:v>19331</c:v>
                </c:pt>
                <c:pt idx="47">
                  <c:v>19840</c:v>
                </c:pt>
                <c:pt idx="48">
                  <c:v>19914</c:v>
                </c:pt>
                <c:pt idx="49">
                  <c:v>19938</c:v>
                </c:pt>
                <c:pt idx="50">
                  <c:v>20354</c:v>
                </c:pt>
                <c:pt idx="51">
                  <c:v>20710</c:v>
                </c:pt>
                <c:pt idx="52">
                  <c:v>21122</c:v>
                </c:pt>
                <c:pt idx="53">
                  <c:v>21563</c:v>
                </c:pt>
                <c:pt idx="54">
                  <c:v>21987</c:v>
                </c:pt>
                <c:pt idx="55">
                  <c:v>22047</c:v>
                </c:pt>
                <c:pt idx="56">
                  <c:v>22070</c:v>
                </c:pt>
                <c:pt idx="57">
                  <c:v>22489</c:v>
                </c:pt>
                <c:pt idx="58">
                  <c:v>22979</c:v>
                </c:pt>
                <c:pt idx="59">
                  <c:v>23518</c:v>
                </c:pt>
                <c:pt idx="60">
                  <c:v>24121</c:v>
                </c:pt>
                <c:pt idx="61">
                  <c:v>24692</c:v>
                </c:pt>
                <c:pt idx="62">
                  <c:v>24768</c:v>
                </c:pt>
                <c:pt idx="63">
                  <c:v>24843</c:v>
                </c:pt>
                <c:pt idx="64">
                  <c:v>25444</c:v>
                </c:pt>
                <c:pt idx="65">
                  <c:v>26137</c:v>
                </c:pt>
                <c:pt idx="66">
                  <c:v>26906</c:v>
                </c:pt>
                <c:pt idx="67">
                  <c:v>27491</c:v>
                </c:pt>
                <c:pt idx="68">
                  <c:v>28196</c:v>
                </c:pt>
                <c:pt idx="69">
                  <c:v>28432</c:v>
                </c:pt>
                <c:pt idx="70">
                  <c:v>28649</c:v>
                </c:pt>
                <c:pt idx="71">
                  <c:v>29302</c:v>
                </c:pt>
                <c:pt idx="72">
                  <c:v>30069</c:v>
                </c:pt>
                <c:pt idx="73">
                  <c:v>30930</c:v>
                </c:pt>
                <c:pt idx="74">
                  <c:v>31973</c:v>
                </c:pt>
                <c:pt idx="75">
                  <c:v>32849</c:v>
                </c:pt>
                <c:pt idx="76">
                  <c:v>33065</c:v>
                </c:pt>
                <c:pt idx="77">
                  <c:v>33257</c:v>
                </c:pt>
                <c:pt idx="78">
                  <c:v>33971</c:v>
                </c:pt>
                <c:pt idx="79">
                  <c:v>34949</c:v>
                </c:pt>
                <c:pt idx="80">
                  <c:v>35848</c:v>
                </c:pt>
                <c:pt idx="81">
                  <c:v>36700</c:v>
                </c:pt>
                <c:pt idx="82">
                  <c:v>37586</c:v>
                </c:pt>
                <c:pt idx="83">
                  <c:v>37890</c:v>
                </c:pt>
                <c:pt idx="84">
                  <c:v>38068</c:v>
                </c:pt>
                <c:pt idx="85">
                  <c:v>38755</c:v>
                </c:pt>
                <c:pt idx="86">
                  <c:v>39500</c:v>
                </c:pt>
                <c:pt idx="87">
                  <c:v>40374</c:v>
                </c:pt>
                <c:pt idx="88">
                  <c:v>41187</c:v>
                </c:pt>
                <c:pt idx="89">
                  <c:v>42240</c:v>
                </c:pt>
                <c:pt idx="90">
                  <c:v>42472</c:v>
                </c:pt>
                <c:pt idx="91">
                  <c:v>42666</c:v>
                </c:pt>
                <c:pt idx="92">
                  <c:v>43462</c:v>
                </c:pt>
                <c:pt idx="93">
                  <c:v>44401</c:v>
                </c:pt>
                <c:pt idx="94">
                  <c:v>45439</c:v>
                </c:pt>
                <c:pt idx="95">
                  <c:v>46674</c:v>
                </c:pt>
                <c:pt idx="96">
                  <c:v>47036</c:v>
                </c:pt>
                <c:pt idx="97">
                  <c:v>47324</c:v>
                </c:pt>
                <c:pt idx="98">
                  <c:v>47509</c:v>
                </c:pt>
                <c:pt idx="99">
                  <c:v>47697</c:v>
                </c:pt>
                <c:pt idx="100">
                  <c:v>48645</c:v>
                </c:pt>
                <c:pt idx="101">
                  <c:v>49499</c:v>
                </c:pt>
                <c:pt idx="102">
                  <c:v>50717</c:v>
                </c:pt>
                <c:pt idx="103">
                  <c:v>52341</c:v>
                </c:pt>
                <c:pt idx="104">
                  <c:v>52886</c:v>
                </c:pt>
                <c:pt idx="105">
                  <c:v>53208</c:v>
                </c:pt>
                <c:pt idx="106">
                  <c:v>54174</c:v>
                </c:pt>
                <c:pt idx="107">
                  <c:v>55280</c:v>
                </c:pt>
                <c:pt idx="108">
                  <c:v>56337</c:v>
                </c:pt>
                <c:pt idx="109">
                  <c:v>57675</c:v>
                </c:pt>
                <c:pt idx="110">
                  <c:v>59277</c:v>
                </c:pt>
                <c:pt idx="111">
                  <c:v>59916</c:v>
                </c:pt>
                <c:pt idx="112">
                  <c:v>60421</c:v>
                </c:pt>
                <c:pt idx="113">
                  <c:v>61590</c:v>
                </c:pt>
                <c:pt idx="114">
                  <c:v>62681</c:v>
                </c:pt>
                <c:pt idx="115">
                  <c:v>63946</c:v>
                </c:pt>
                <c:pt idx="116">
                  <c:v>65347</c:v>
                </c:pt>
                <c:pt idx="117">
                  <c:v>67162</c:v>
                </c:pt>
                <c:pt idx="118">
                  <c:v>67687</c:v>
                </c:pt>
                <c:pt idx="119">
                  <c:v>68132</c:v>
                </c:pt>
                <c:pt idx="120">
                  <c:v>69055</c:v>
                </c:pt>
                <c:pt idx="121">
                  <c:v>69968</c:v>
                </c:pt>
                <c:pt idx="122">
                  <c:v>71079</c:v>
                </c:pt>
                <c:pt idx="123">
                  <c:v>72337</c:v>
                </c:pt>
                <c:pt idx="124">
                  <c:v>73661</c:v>
                </c:pt>
                <c:pt idx="125">
                  <c:v>73974</c:v>
                </c:pt>
                <c:pt idx="126">
                  <c:v>74282</c:v>
                </c:pt>
                <c:pt idx="127">
                  <c:v>75210</c:v>
                </c:pt>
                <c:pt idx="128">
                  <c:v>76234</c:v>
                </c:pt>
                <c:pt idx="129">
                  <c:v>77450</c:v>
                </c:pt>
                <c:pt idx="130">
                  <c:v>78793</c:v>
                </c:pt>
                <c:pt idx="131">
                  <c:v>80494</c:v>
                </c:pt>
                <c:pt idx="132">
                  <c:v>81119</c:v>
                </c:pt>
                <c:pt idx="133">
                  <c:v>81616</c:v>
                </c:pt>
                <c:pt idx="134">
                  <c:v>82869</c:v>
                </c:pt>
                <c:pt idx="135">
                  <c:v>84221</c:v>
                </c:pt>
                <c:pt idx="136">
                  <c:v>85478</c:v>
                </c:pt>
                <c:pt idx="137">
                  <c:v>86784</c:v>
                </c:pt>
                <c:pt idx="138">
                  <c:v>88121</c:v>
                </c:pt>
                <c:pt idx="139">
                  <c:v>88679</c:v>
                </c:pt>
                <c:pt idx="140">
                  <c:v>89073</c:v>
                </c:pt>
                <c:pt idx="141">
                  <c:v>90042</c:v>
                </c:pt>
                <c:pt idx="142">
                  <c:v>91228</c:v>
                </c:pt>
                <c:pt idx="143">
                  <c:v>92451</c:v>
                </c:pt>
                <c:pt idx="144">
                  <c:v>93862</c:v>
                </c:pt>
                <c:pt idx="145">
                  <c:v>95615</c:v>
                </c:pt>
                <c:pt idx="146">
                  <c:v>96178</c:v>
                </c:pt>
                <c:pt idx="147">
                  <c:v>96592</c:v>
                </c:pt>
                <c:pt idx="148">
                  <c:v>97918</c:v>
                </c:pt>
                <c:pt idx="149">
                  <c:v>99221</c:v>
                </c:pt>
                <c:pt idx="150">
                  <c:v>101231</c:v>
                </c:pt>
                <c:pt idx="151">
                  <c:v>104505</c:v>
                </c:pt>
                <c:pt idx="152">
                  <c:v>108758</c:v>
                </c:pt>
                <c:pt idx="153">
                  <c:v>111333</c:v>
                </c:pt>
                <c:pt idx="154">
                  <c:v>113050</c:v>
                </c:pt>
                <c:pt idx="155">
                  <c:v>119323</c:v>
                </c:pt>
                <c:pt idx="156">
                  <c:v>126743</c:v>
                </c:pt>
                <c:pt idx="157">
                  <c:v>135899</c:v>
                </c:pt>
                <c:pt idx="158">
                  <c:v>146149</c:v>
                </c:pt>
                <c:pt idx="159">
                  <c:v>156811</c:v>
                </c:pt>
                <c:pt idx="160">
                  <c:v>163312</c:v>
                </c:pt>
                <c:pt idx="161">
                  <c:v>171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11-4592-A267-E0FEEF560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462669612369699"/>
          <c:y val="9.8345988965239925E-2"/>
          <c:w val="6.7641483788482074E-2"/>
          <c:h val="0.772266679956727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Pardubický kraj</c:v>
                </c:pt>
                <c:pt idx="3">
                  <c:v>Hlavní město Praha</c:v>
                </c:pt>
                <c:pt idx="4">
                  <c:v>Jihočeský kraj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Královéhradecký kraj</c:v>
                </c:pt>
                <c:pt idx="11">
                  <c:v>Ústecký kraj</c:v>
                </c:pt>
                <c:pt idx="12">
                  <c:v>Karlovarský kraj</c:v>
                </c:pt>
                <c:pt idx="13">
                  <c:v>Olomou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[$-10405]#\ ##0.00;\(#\ ##0.00\)</c:formatCode>
                <c:ptCount val="15"/>
                <c:pt idx="0">
                  <c:v>0.99280575539500004</c:v>
                </c:pt>
                <c:pt idx="1">
                  <c:v>0.96129032258000002</c:v>
                </c:pt>
                <c:pt idx="2">
                  <c:v>0.948979591836</c:v>
                </c:pt>
                <c:pt idx="3">
                  <c:v>0.91916167664600001</c:v>
                </c:pt>
                <c:pt idx="4">
                  <c:v>0.90874524714799998</c:v>
                </c:pt>
                <c:pt idx="5">
                  <c:v>0.83448275861999999</c:v>
                </c:pt>
                <c:pt idx="6">
                  <c:v>0.79097387173300004</c:v>
                </c:pt>
                <c:pt idx="7">
                  <c:v>0.78473842052599996</c:v>
                </c:pt>
                <c:pt idx="8">
                  <c:v>0.743083003952</c:v>
                </c:pt>
                <c:pt idx="9">
                  <c:v>0.72644376899600005</c:v>
                </c:pt>
                <c:pt idx="10">
                  <c:v>0.72413793103400004</c:v>
                </c:pt>
                <c:pt idx="11">
                  <c:v>0.66101694915200004</c:v>
                </c:pt>
                <c:pt idx="12">
                  <c:v>0.5625</c:v>
                </c:pt>
                <c:pt idx="13">
                  <c:v>0.53784860557699998</c:v>
                </c:pt>
                <c:pt idx="14">
                  <c:v>0.52287581699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0;\(#\ ##0.0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0980456560999999</c:v>
                </c:pt>
                <c:pt idx="1">
                  <c:v>0.228149201833</c:v>
                </c:pt>
                <c:pt idx="2">
                  <c:v>0.148610253242</c:v>
                </c:pt>
                <c:pt idx="3">
                  <c:v>0.126222222222</c:v>
                </c:pt>
                <c:pt idx="4">
                  <c:v>0.113789878416</c:v>
                </c:pt>
                <c:pt idx="5">
                  <c:v>0.111920695478</c:v>
                </c:pt>
                <c:pt idx="6">
                  <c:v>0.13610130071400001</c:v>
                </c:pt>
                <c:pt idx="7">
                  <c:v>0.12658793628500001</c:v>
                </c:pt>
                <c:pt idx="8">
                  <c:v>0.130350580991</c:v>
                </c:pt>
                <c:pt idx="9">
                  <c:v>0.124385050297</c:v>
                </c:pt>
                <c:pt idx="10">
                  <c:v>0.16290473225400001</c:v>
                </c:pt>
                <c:pt idx="11">
                  <c:v>0.11939308514999999</c:v>
                </c:pt>
                <c:pt idx="12">
                  <c:v>8.2317801671999993E-2</c:v>
                </c:pt>
                <c:pt idx="13">
                  <c:v>5.6338028169E-2</c:v>
                </c:pt>
                <c:pt idx="14">
                  <c:v>5.9819661315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10066829319999999</c:v>
                </c:pt>
                <c:pt idx="1">
                  <c:v>9.3675287979999994E-2</c:v>
                </c:pt>
                <c:pt idx="2">
                  <c:v>5.7447127643000001E-2</c:v>
                </c:pt>
                <c:pt idx="3">
                  <c:v>5.7052797478000003E-2</c:v>
                </c:pt>
                <c:pt idx="4">
                  <c:v>6.0396470972000002E-2</c:v>
                </c:pt>
                <c:pt idx="5">
                  <c:v>5.6445114046E-2</c:v>
                </c:pt>
                <c:pt idx="6">
                  <c:v>6.7817448608E-2</c:v>
                </c:pt>
                <c:pt idx="7">
                  <c:v>5.4183514171000001E-2</c:v>
                </c:pt>
                <c:pt idx="8">
                  <c:v>5.2666409307999998E-2</c:v>
                </c:pt>
                <c:pt idx="9">
                  <c:v>4.9288441512999999E-2</c:v>
                </c:pt>
                <c:pt idx="10">
                  <c:v>7.4259681093000005E-2</c:v>
                </c:pt>
                <c:pt idx="11">
                  <c:v>4.6602632514999999E-2</c:v>
                </c:pt>
                <c:pt idx="12">
                  <c:v>3.0418392863E-2</c:v>
                </c:pt>
                <c:pt idx="13">
                  <c:v>1.8317061831000001E-2</c:v>
                </c:pt>
                <c:pt idx="14">
                  <c:v>2.063106796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[$-10405]0.0\ %</c:formatCode>
                <c:ptCount val="15"/>
                <c:pt idx="0">
                  <c:v>3.2840922963999999E-2</c:v>
                </c:pt>
                <c:pt idx="1">
                  <c:v>4.5068341337000002E-2</c:v>
                </c:pt>
                <c:pt idx="2">
                  <c:v>2.5356576862000001E-2</c:v>
                </c:pt>
                <c:pt idx="3">
                  <c:v>2.6563273387E-2</c:v>
                </c:pt>
                <c:pt idx="4">
                  <c:v>2.2516735411000001E-2</c:v>
                </c:pt>
                <c:pt idx="5">
                  <c:v>1.9684586162999999E-2</c:v>
                </c:pt>
                <c:pt idx="6">
                  <c:v>2.0039220492E-2</c:v>
                </c:pt>
                <c:pt idx="7">
                  <c:v>1.7545943210000001E-2</c:v>
                </c:pt>
                <c:pt idx="8">
                  <c:v>1.9945979637999999E-2</c:v>
                </c:pt>
                <c:pt idx="9">
                  <c:v>1.0635445526000001E-2</c:v>
                </c:pt>
                <c:pt idx="10">
                  <c:v>1.787140575E-2</c:v>
                </c:pt>
                <c:pt idx="11">
                  <c:v>1.2495568947E-2</c:v>
                </c:pt>
                <c:pt idx="12">
                  <c:v>8.7052999910000005E-3</c:v>
                </c:pt>
                <c:pt idx="13">
                  <c:v>6.8405301409999999E-3</c:v>
                </c:pt>
                <c:pt idx="14">
                  <c:v>5.78034681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.1562847608000003E-2</c:v>
                </c:pt>
                <c:pt idx="1">
                  <c:v>2.9540978639000001E-2</c:v>
                </c:pt>
                <c:pt idx="2">
                  <c:v>2.6868945347999999E-2</c:v>
                </c:pt>
                <c:pt idx="3">
                  <c:v>2.3548740416E-2</c:v>
                </c:pt>
                <c:pt idx="4">
                  <c:v>1.7752729833999999E-2</c:v>
                </c:pt>
                <c:pt idx="5">
                  <c:v>1.5946065964E-2</c:v>
                </c:pt>
                <c:pt idx="6">
                  <c:v>1.3605442176E-2</c:v>
                </c:pt>
                <c:pt idx="7">
                  <c:v>1.3351498636999999E-2</c:v>
                </c:pt>
                <c:pt idx="8">
                  <c:v>1.233966553E-2</c:v>
                </c:pt>
                <c:pt idx="9">
                  <c:v>1.1002081473999999E-2</c:v>
                </c:pt>
                <c:pt idx="10">
                  <c:v>9.9808586269999992E-3</c:v>
                </c:pt>
                <c:pt idx="11">
                  <c:v>8.9728991110000003E-3</c:v>
                </c:pt>
                <c:pt idx="12">
                  <c:v>6.408435142E-3</c:v>
                </c:pt>
                <c:pt idx="13">
                  <c:v>4.6835443029999996E-3</c:v>
                </c:pt>
                <c:pt idx="14">
                  <c:v>1.68463611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3A-4D9C-A061-EA9939A57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Olomoucký kraj</c:v>
                </c:pt>
                <c:pt idx="2">
                  <c:v>Liberec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Jihomoravský kraj</c:v>
                </c:pt>
                <c:pt idx="7">
                  <c:v>ČR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.1562847608000003E-2</c:v>
                </c:pt>
                <c:pt idx="1">
                  <c:v>2.9540978639000001E-2</c:v>
                </c:pt>
                <c:pt idx="2">
                  <c:v>2.6868945347999999E-2</c:v>
                </c:pt>
                <c:pt idx="3">
                  <c:v>2.3548740416E-2</c:v>
                </c:pt>
                <c:pt idx="4">
                  <c:v>1.7752729833999999E-2</c:v>
                </c:pt>
                <c:pt idx="5">
                  <c:v>1.5946065964E-2</c:v>
                </c:pt>
                <c:pt idx="6">
                  <c:v>1.3605442176E-2</c:v>
                </c:pt>
                <c:pt idx="7">
                  <c:v>1.3351498636999999E-2</c:v>
                </c:pt>
                <c:pt idx="8">
                  <c:v>1.233966553E-2</c:v>
                </c:pt>
                <c:pt idx="9">
                  <c:v>1.1002081473999999E-2</c:v>
                </c:pt>
                <c:pt idx="10">
                  <c:v>9.9808586269999992E-3</c:v>
                </c:pt>
                <c:pt idx="11">
                  <c:v>8.9728991110000003E-3</c:v>
                </c:pt>
                <c:pt idx="12">
                  <c:v>6.408435142E-3</c:v>
                </c:pt>
                <c:pt idx="13">
                  <c:v>4.6835443029999996E-3</c:v>
                </c:pt>
                <c:pt idx="14">
                  <c:v>1.68463611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5.036657355427</c:v>
                </c:pt>
                <c:pt idx="1">
                  <c:v>201.071865322251</c:v>
                </c:pt>
                <c:pt idx="2">
                  <c:v>213.576869573311</c:v>
                </c:pt>
                <c:pt idx="3">
                  <c:v>176.889659416146</c:v>
                </c:pt>
                <c:pt idx="4">
                  <c:v>100.83902808772901</c:v>
                </c:pt>
                <c:pt idx="5">
                  <c:v>203.32359537018499</c:v>
                </c:pt>
                <c:pt idx="6">
                  <c:v>152.91852932461501</c:v>
                </c:pt>
                <c:pt idx="7">
                  <c:v>111.228956380272</c:v>
                </c:pt>
                <c:pt idx="8">
                  <c:v>202.079793978976</c:v>
                </c:pt>
                <c:pt idx="9">
                  <c:v>186.85833193078</c:v>
                </c:pt>
                <c:pt idx="10">
                  <c:v>156.19156933625601</c:v>
                </c:pt>
                <c:pt idx="11">
                  <c:v>131.75993939901099</c:v>
                </c:pt>
                <c:pt idx="12">
                  <c:v>156.627074276999</c:v>
                </c:pt>
                <c:pt idx="13">
                  <c:v>60.094080823814998</c:v>
                </c:pt>
                <c:pt idx="14">
                  <c:v>64.43672415967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50.172212730181002</c:v>
                </c:pt>
                <c:pt idx="1">
                  <c:v>84.220209431731007</c:v>
                </c:pt>
                <c:pt idx="2">
                  <c:v>78.259805315804996</c:v>
                </c:pt>
                <c:pt idx="3">
                  <c:v>71.175033575501004</c:v>
                </c:pt>
                <c:pt idx="4">
                  <c:v>29.777968025905999</c:v>
                </c:pt>
                <c:pt idx="5">
                  <c:v>53.130580693456999</c:v>
                </c:pt>
                <c:pt idx="6">
                  <c:v>52.598741311840001</c:v>
                </c:pt>
                <c:pt idx="7">
                  <c:v>39.548073379652003</c:v>
                </c:pt>
                <c:pt idx="8">
                  <c:v>67.074335009375005</c:v>
                </c:pt>
                <c:pt idx="9">
                  <c:v>42.841623697537997</c:v>
                </c:pt>
                <c:pt idx="10">
                  <c:v>58.728699343358997</c:v>
                </c:pt>
                <c:pt idx="11">
                  <c:v>42.346299741701003</c:v>
                </c:pt>
                <c:pt idx="12">
                  <c:v>59.938842728337001</c:v>
                </c:pt>
                <c:pt idx="13">
                  <c:v>16.884439627235</c:v>
                </c:pt>
                <c:pt idx="14">
                  <c:v>17.72862252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[$-10405]#\ ##0.0;\(#\ ##0.0\)</c:formatCode>
                <c:ptCount val="15"/>
                <c:pt idx="0">
                  <c:v>18.306077617768999</c:v>
                </c:pt>
                <c:pt idx="1">
                  <c:v>20.666582757232</c:v>
                </c:pt>
                <c:pt idx="2">
                  <c:v>29.304332386974998</c:v>
                </c:pt>
                <c:pt idx="3">
                  <c:v>20.706988566724</c:v>
                </c:pt>
                <c:pt idx="4">
                  <c:v>13.197054011481001</c:v>
                </c:pt>
                <c:pt idx="5">
                  <c:v>24.582805992495</c:v>
                </c:pt>
                <c:pt idx="6">
                  <c:v>15.595540815324</c:v>
                </c:pt>
                <c:pt idx="7">
                  <c:v>11.909363006372001</c:v>
                </c:pt>
                <c:pt idx="8">
                  <c:v>18.726958497142999</c:v>
                </c:pt>
                <c:pt idx="9">
                  <c:v>8.9890906865370006</c:v>
                </c:pt>
                <c:pt idx="10">
                  <c:v>17.233777869988</c:v>
                </c:pt>
                <c:pt idx="11">
                  <c:v>10.586574935425</c:v>
                </c:pt>
                <c:pt idx="12">
                  <c:v>10.808643770683</c:v>
                </c:pt>
                <c:pt idx="13">
                  <c:v>5.0834871995970001</c:v>
                </c:pt>
                <c:pt idx="14">
                  <c:v>2.386545339247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8.984080492501</c:v>
                </c:pt>
                <c:pt idx="1">
                  <c:v>16.160335389114</c:v>
                </c:pt>
                <c:pt idx="2">
                  <c:v>15.686436748322</c:v>
                </c:pt>
                <c:pt idx="3">
                  <c:v>14.503275392887</c:v>
                </c:pt>
                <c:pt idx="4">
                  <c:v>12.181896010598001</c:v>
                </c:pt>
                <c:pt idx="5">
                  <c:v>10.784714887030001</c:v>
                </c:pt>
                <c:pt idx="6">
                  <c:v>10.587026808725</c:v>
                </c:pt>
                <c:pt idx="7">
                  <c:v>10.111723307297</c:v>
                </c:pt>
                <c:pt idx="8">
                  <c:v>9.7918737239959999</c:v>
                </c:pt>
                <c:pt idx="9">
                  <c:v>9.5628624324859999</c:v>
                </c:pt>
                <c:pt idx="10">
                  <c:v>9.4534800937310006</c:v>
                </c:pt>
                <c:pt idx="11">
                  <c:v>6.9384984374069996</c:v>
                </c:pt>
                <c:pt idx="12">
                  <c:v>6.4851862624100001</c:v>
                </c:pt>
                <c:pt idx="13">
                  <c:v>4.5388278567829996</c:v>
                </c:pt>
                <c:pt idx="14">
                  <c:v>2.045610290782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745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17981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345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1468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4689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23714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7999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090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9964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4402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623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505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892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6.svg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0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4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4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1980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57936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998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3875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15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47846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952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2112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452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98260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7416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270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259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image" Target="../media/image6.sv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8.sv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46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0475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17.png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slideLayout" Target="../slideLayouts/slideLayout4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20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19.pn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18.png"/><Relationship Id="rId30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image" Target="../media/image21.png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slideLayout" Target="../slideLayouts/slideLayout42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image" Target="../media/image22.pn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slideLayout" Target="../slideLayouts/slideLayout42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7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1.xml"/><Relationship Id="rId4" Type="http://schemas.openxmlformats.org/officeDocument/2006/relationships/tags" Target="../tags/tag7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slideLayout" Target="../slideLayouts/slideLayout3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chart" Target="../charts/chart8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2" Type="http://schemas.openxmlformats.org/officeDocument/2006/relationships/tags" Target="../tags/tag88.xml"/><Relationship Id="rId16" Type="http://schemas.openxmlformats.org/officeDocument/2006/relationships/chart" Target="../charts/chart10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chart" Target="../charts/chart9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2" Type="http://schemas.openxmlformats.org/officeDocument/2006/relationships/tags" Target="../tags/tag102.xml"/><Relationship Id="rId16" Type="http://schemas.openxmlformats.org/officeDocument/2006/relationships/chart" Target="../charts/chart1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chart" Target="../charts/chart11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chart" Target="../charts/chart15.xml"/><Relationship Id="rId5" Type="http://schemas.openxmlformats.org/officeDocument/2006/relationships/tags" Target="../tags/tag118.xml"/><Relationship Id="rId10" Type="http://schemas.openxmlformats.org/officeDocument/2006/relationships/chart" Target="../charts/chart14.xml"/><Relationship Id="rId4" Type="http://schemas.openxmlformats.org/officeDocument/2006/relationships/tags" Target="../tags/tag117.xml"/><Relationship Id="rId9" Type="http://schemas.openxmlformats.org/officeDocument/2006/relationships/chart" Target="../charts/char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chart" Target="../charts/chart18.xml"/><Relationship Id="rId5" Type="http://schemas.openxmlformats.org/officeDocument/2006/relationships/tags" Target="../tags/tag125.xml"/><Relationship Id="rId10" Type="http://schemas.openxmlformats.org/officeDocument/2006/relationships/chart" Target="../charts/chart17.xml"/><Relationship Id="rId4" Type="http://schemas.openxmlformats.org/officeDocument/2006/relationships/tags" Target="../tags/tag124.xml"/><Relationship Id="rId9" Type="http://schemas.openxmlformats.org/officeDocument/2006/relationships/chart" Target="../charts/chart1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image" Target="../media/image25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slideLayout" Target="../slideLayouts/slideLayout31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26.png"/><Relationship Id="rId5" Type="http://schemas.openxmlformats.org/officeDocument/2006/relationships/tags" Target="../tags/tag142.xml"/><Relationship Id="rId10" Type="http://schemas.openxmlformats.org/officeDocument/2006/relationships/slideLayout" Target="../slideLayouts/slideLayout31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26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1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notesSlide" Target="../notesSlides/notesSlide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chart" Target="../charts/chart2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7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75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chart" Target="../charts/char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chart" Target="../charts/chart2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8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85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4" Type="http://schemas.openxmlformats.org/officeDocument/2006/relationships/tags" Target="../tags/tag186.xml"/><Relationship Id="rId9" Type="http://schemas.openxmlformats.org/officeDocument/2006/relationships/chart" Target="../charts/char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9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slideLayout" Target="../slideLayouts/slideLayout54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notesSlide" Target="../notesSlides/notesSlide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202.xml"/><Relationship Id="rId4" Type="http://schemas.openxmlformats.org/officeDocument/2006/relationships/chart" Target="../charts/chart2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chart" Target="../charts/chart27.xml"/><Relationship Id="rId4" Type="http://schemas.openxmlformats.org/officeDocument/2006/relationships/notesSlide" Target="../notesSlides/notesSlide1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ags" Target="../tags/tag20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chart" Target="../charts/chart28.xml"/><Relationship Id="rId5" Type="http://schemas.openxmlformats.org/officeDocument/2006/relationships/tags" Target="../tags/tag210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209.xml"/><Relationship Id="rId9" Type="http://schemas.openxmlformats.org/officeDocument/2006/relationships/slideLayout" Target="../slideLayouts/slideLayout4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notesSlide" Target="../notesSlides/notesSlide18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notesSlide" Target="../notesSlides/notesSlide19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chart" Target="../charts/char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chart" Target="../charts/chart31.xml"/><Relationship Id="rId5" Type="http://schemas.openxmlformats.org/officeDocument/2006/relationships/tags" Target="../tags/tag255.xml"/><Relationship Id="rId10" Type="http://schemas.openxmlformats.org/officeDocument/2006/relationships/chart" Target="../charts/chart30.xml"/><Relationship Id="rId4" Type="http://schemas.openxmlformats.org/officeDocument/2006/relationships/tags" Target="../tags/tag254.xml"/><Relationship Id="rId9" Type="http://schemas.openxmlformats.org/officeDocument/2006/relationships/notesSlide" Target="../notesSlides/notesSlide20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70.xml"/><Relationship Id="rId18" Type="http://schemas.openxmlformats.org/officeDocument/2006/relationships/tags" Target="../tags/tag275.xml"/><Relationship Id="rId26" Type="http://schemas.openxmlformats.org/officeDocument/2006/relationships/chart" Target="../charts/chart33.xml"/><Relationship Id="rId3" Type="http://schemas.openxmlformats.org/officeDocument/2006/relationships/tags" Target="../tags/tag260.xml"/><Relationship Id="rId21" Type="http://schemas.openxmlformats.org/officeDocument/2006/relationships/tags" Target="../tags/tag278.xml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17" Type="http://schemas.openxmlformats.org/officeDocument/2006/relationships/tags" Target="../tags/tag274.xml"/><Relationship Id="rId25" Type="http://schemas.openxmlformats.org/officeDocument/2006/relationships/chart" Target="../charts/chart32.xml"/><Relationship Id="rId2" Type="http://schemas.openxmlformats.org/officeDocument/2006/relationships/tags" Target="../tags/tag259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chart" Target="../charts/chart36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24" Type="http://schemas.openxmlformats.org/officeDocument/2006/relationships/notesSlide" Target="../notesSlides/notesSlide21.xml"/><Relationship Id="rId5" Type="http://schemas.openxmlformats.org/officeDocument/2006/relationships/tags" Target="../tags/tag262.xml"/><Relationship Id="rId15" Type="http://schemas.openxmlformats.org/officeDocument/2006/relationships/tags" Target="../tags/tag272.xml"/><Relationship Id="rId23" Type="http://schemas.openxmlformats.org/officeDocument/2006/relationships/slideLayout" Target="../slideLayouts/slideLayout36.xml"/><Relationship Id="rId28" Type="http://schemas.openxmlformats.org/officeDocument/2006/relationships/chart" Target="../charts/chart35.xml"/><Relationship Id="rId10" Type="http://schemas.openxmlformats.org/officeDocument/2006/relationships/tags" Target="../tags/tag267.xml"/><Relationship Id="rId19" Type="http://schemas.openxmlformats.org/officeDocument/2006/relationships/tags" Target="../tags/tag276.xml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Relationship Id="rId22" Type="http://schemas.openxmlformats.org/officeDocument/2006/relationships/tags" Target="../tags/tag279.xml"/><Relationship Id="rId27" Type="http://schemas.openxmlformats.org/officeDocument/2006/relationships/chart" Target="../charts/chart34.xml"/><Relationship Id="rId30" Type="http://schemas.openxmlformats.org/officeDocument/2006/relationships/chart" Target="../charts/chart3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13" Type="http://schemas.openxmlformats.org/officeDocument/2006/relationships/tags" Target="../tags/tag292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tags" Target="../tags/tag291.xml"/><Relationship Id="rId2" Type="http://schemas.openxmlformats.org/officeDocument/2006/relationships/tags" Target="../tags/tag281.xml"/><Relationship Id="rId16" Type="http://schemas.openxmlformats.org/officeDocument/2006/relationships/chart" Target="../charts/chart39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tags" Target="../tags/tag290.xml"/><Relationship Id="rId5" Type="http://schemas.openxmlformats.org/officeDocument/2006/relationships/tags" Target="../tags/tag284.xml"/><Relationship Id="rId15" Type="http://schemas.openxmlformats.org/officeDocument/2006/relationships/chart" Target="../charts/chart38.xml"/><Relationship Id="rId10" Type="http://schemas.openxmlformats.org/officeDocument/2006/relationships/tags" Target="../tags/tag289.xml"/><Relationship Id="rId4" Type="http://schemas.openxmlformats.org/officeDocument/2006/relationships/tags" Target="../tags/tag283.xml"/><Relationship Id="rId9" Type="http://schemas.openxmlformats.org/officeDocument/2006/relationships/tags" Target="../tags/tag288.xml"/><Relationship Id="rId14" Type="http://schemas.openxmlformats.org/officeDocument/2006/relationships/slideLayout" Target="../slideLayouts/slideLayout31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13" Type="http://schemas.openxmlformats.org/officeDocument/2006/relationships/tags" Target="../tags/tag305.xml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12" Type="http://schemas.openxmlformats.org/officeDocument/2006/relationships/tags" Target="../tags/tag304.xml"/><Relationship Id="rId2" Type="http://schemas.openxmlformats.org/officeDocument/2006/relationships/tags" Target="../tags/tag294.xml"/><Relationship Id="rId16" Type="http://schemas.openxmlformats.org/officeDocument/2006/relationships/chart" Target="../charts/chart41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tags" Target="../tags/tag303.xml"/><Relationship Id="rId5" Type="http://schemas.openxmlformats.org/officeDocument/2006/relationships/tags" Target="../tags/tag297.xml"/><Relationship Id="rId15" Type="http://schemas.openxmlformats.org/officeDocument/2006/relationships/chart" Target="../charts/chart40.xml"/><Relationship Id="rId10" Type="http://schemas.openxmlformats.org/officeDocument/2006/relationships/tags" Target="../tags/tag302.xml"/><Relationship Id="rId4" Type="http://schemas.openxmlformats.org/officeDocument/2006/relationships/tags" Target="../tags/tag296.xml"/><Relationship Id="rId9" Type="http://schemas.openxmlformats.org/officeDocument/2006/relationships/tags" Target="../tags/tag301.xml"/><Relationship Id="rId14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tags" Target="../tags/tag318.xml"/><Relationship Id="rId18" Type="http://schemas.openxmlformats.org/officeDocument/2006/relationships/chart" Target="../charts/chart42.xml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12" Type="http://schemas.openxmlformats.org/officeDocument/2006/relationships/tags" Target="../tags/tag317.xml"/><Relationship Id="rId17" Type="http://schemas.openxmlformats.org/officeDocument/2006/relationships/slideLayout" Target="../slideLayouts/slideLayout31.xml"/><Relationship Id="rId2" Type="http://schemas.openxmlformats.org/officeDocument/2006/relationships/tags" Target="../tags/tag307.xml"/><Relationship Id="rId16" Type="http://schemas.openxmlformats.org/officeDocument/2006/relationships/tags" Target="../tags/tag321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11" Type="http://schemas.openxmlformats.org/officeDocument/2006/relationships/tags" Target="../tags/tag316.xml"/><Relationship Id="rId5" Type="http://schemas.openxmlformats.org/officeDocument/2006/relationships/tags" Target="../tags/tag310.xml"/><Relationship Id="rId15" Type="http://schemas.openxmlformats.org/officeDocument/2006/relationships/tags" Target="../tags/tag320.xml"/><Relationship Id="rId10" Type="http://schemas.openxmlformats.org/officeDocument/2006/relationships/tags" Target="../tags/tag315.xml"/><Relationship Id="rId19" Type="http://schemas.openxmlformats.org/officeDocument/2006/relationships/chart" Target="../charts/chart43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tags" Target="../tags/tag3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7. </a:t>
            </a:r>
            <a:r>
              <a:rPr lang="cs-CZ" sz="4800" b="1" dirty="0"/>
              <a:t>6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1972805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y klesly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pod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i týdenních záchytů nákazy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í kumulativních týdenních záchytů 25/100 tis. obyv.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tím neklesly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 JHČ,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LK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LBK.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sně nad touto hranicí týdenních záchytů zůstává MSK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2998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2" y="576988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689274" y="2004603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689274" y="2313329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689274" y="2622055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689274" y="2930781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689274" y="3239507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929031" y="1909937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929031" y="222122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929031" y="253251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929031" y="284380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929031" y="315509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689274" y="3548232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689274" y="3856956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929031" y="346638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929031" y="377767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689274" y="1729937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929030" y="1666049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863930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301332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5" name="TextovéPole 24"/>
          <p:cNvSpPr txBox="1"/>
          <p:nvPr>
            <p:custDataLst>
              <p:tags r:id="rId15"/>
            </p:custDataLst>
          </p:nvPr>
        </p:nvSpPr>
        <p:spPr>
          <a:xfrm>
            <a:off x="7526949" y="4602565"/>
            <a:ext cx="389356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á. Týden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počt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vrzený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hybuje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sahu cca  – 25% až – 30%. </a:t>
            </a: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62DA513C-9C1E-48BC-8498-2E3CBCCB47C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24531" y="387145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0689274" y="1439595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929030" y="1375707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 descr="Map&#10;&#10;Description automatically generated">
            <a:extLst>
              <a:ext uri="{FF2B5EF4-FFF2-40B4-BE49-F238E27FC236}">
                <a16:creationId xmlns:a16="http://schemas.microsoft.com/office/drawing/2014/main" id="{B245AF37-1146-44D0-AACD-F8555784CFC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94" y="4173665"/>
            <a:ext cx="3296446" cy="2160000"/>
          </a:xfrm>
          <a:prstGeom prst="rect">
            <a:avLst/>
          </a:prstGeom>
        </p:spPr>
      </p:pic>
      <p:pic>
        <p:nvPicPr>
          <p:cNvPr id="33" name="Picture 32" descr="Map&#10;&#10;Description automatically generated">
            <a:extLst>
              <a:ext uri="{FF2B5EF4-FFF2-40B4-BE49-F238E27FC236}">
                <a16:creationId xmlns:a16="http://schemas.microsoft.com/office/drawing/2014/main" id="{9E7569A9-8B40-4F81-8E81-F8A334611E2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4230" y="1209964"/>
            <a:ext cx="3296446" cy="2160000"/>
          </a:xfrm>
          <a:prstGeom prst="rect">
            <a:avLst/>
          </a:prstGeom>
        </p:spPr>
      </p:pic>
      <p:pic>
        <p:nvPicPr>
          <p:cNvPr id="35" name="Picture 34" descr="Map&#10;&#10;Description automatically generated">
            <a:extLst>
              <a:ext uri="{FF2B5EF4-FFF2-40B4-BE49-F238E27FC236}">
                <a16:creationId xmlns:a16="http://schemas.microsoft.com/office/drawing/2014/main" id="{FCC78ABD-3900-458F-BCD2-316A5FD1E69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354" y="1185821"/>
            <a:ext cx="3296446" cy="2160000"/>
          </a:xfrm>
          <a:prstGeom prst="rect">
            <a:avLst/>
          </a:prstGeom>
        </p:spPr>
      </p:pic>
      <p:pic>
        <p:nvPicPr>
          <p:cNvPr id="37" name="Picture 36" descr="Map&#10;&#10;Description automatically generated">
            <a:extLst>
              <a:ext uri="{FF2B5EF4-FFF2-40B4-BE49-F238E27FC236}">
                <a16:creationId xmlns:a16="http://schemas.microsoft.com/office/drawing/2014/main" id="{EE2149BB-4E2F-464C-BF75-6D35A9B910EB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94" y="1175954"/>
            <a:ext cx="3296446" cy="2160000"/>
          </a:xfrm>
          <a:prstGeom prst="rect">
            <a:avLst/>
          </a:prstGeom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3863930" y="3871452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pic>
        <p:nvPicPr>
          <p:cNvPr id="3" name="Picture 2" descr="Chart, map&#10;&#10;Description automatically generated">
            <a:extLst>
              <a:ext uri="{FF2B5EF4-FFF2-40B4-BE49-F238E27FC236}">
                <a16:creationId xmlns:a16="http://schemas.microsoft.com/office/drawing/2014/main" id="{94897505-D0E3-4703-80F9-3B692C410851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784" y="4184285"/>
            <a:ext cx="329644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7173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pic>
        <p:nvPicPr>
          <p:cNvPr id="4" name="Picture 3" descr="Chart, map&#10;&#10;Description automatically generated">
            <a:extLst>
              <a:ext uri="{FF2B5EF4-FFF2-40B4-BE49-F238E27FC236}">
                <a16:creationId xmlns:a16="http://schemas.microsoft.com/office/drawing/2014/main" id="{20C81841-4524-489D-AC36-A4A3495F990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47" y="1170333"/>
            <a:ext cx="8244459" cy="5402191"/>
          </a:xfrm>
          <a:prstGeom prst="rect">
            <a:avLst/>
          </a:prstGeom>
        </p:spPr>
      </p:pic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9211" y="139182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23" name="TextovéPole 22"/>
          <p:cNvSpPr txBox="1"/>
          <p:nvPr>
            <p:custDataLst>
              <p:tags r:id="rId4"/>
            </p:custDataLst>
          </p:nvPr>
        </p:nvSpPr>
        <p:spPr>
          <a:xfrm>
            <a:off x="8806315" y="4017979"/>
            <a:ext cx="31378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í okresní mapa dokládá stále zvýšenou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rovou zátěž regionů JHČ, ZLK, LBK a částečně MSK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oravských okresů dále vykazuje vysoké počty záchytů okres Šumperk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22906" y="1555622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8322906" y="1864348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8322906" y="2173074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8322906" y="2481800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8322906" y="2790526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62663" y="1460956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62663" y="177224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62663" y="208353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62663" y="239482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562663" y="270611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8322906" y="3099251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8322906" y="3407975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562663" y="301740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562663" y="3328698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22906" y="1280956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562662" y="1217068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22906" y="990614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562662" y="926726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735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E1477E6-8CD6-4F32-87CD-D1BA8FF8138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11" y="755850"/>
            <a:ext cx="8671765" cy="5682184"/>
          </a:xfrm>
          <a:prstGeom prst="rect">
            <a:avLst/>
          </a:prstGeom>
        </p:spPr>
      </p:pic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48845" y="1029933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72723" y="1554527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172723" y="1863253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172723" y="2171979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172723" y="2480705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172723" y="2789431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12480" y="1459861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12480" y="177115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412480" y="208244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412480" y="239373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412480" y="270502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172723" y="3098156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172723" y="3406880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12480" y="3016311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412480" y="332760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172723" y="1279861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412479" y="1215973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172723" y="989519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412479" y="925631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ovéPole 22"/>
          <p:cNvSpPr txBox="1"/>
          <p:nvPr>
            <p:custDataLst>
              <p:tags r:id="rId16"/>
            </p:custDataLst>
          </p:nvPr>
        </p:nvSpPr>
        <p:spPr>
          <a:xfrm>
            <a:off x="8940315" y="4036640"/>
            <a:ext cx="313787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í mapa ORP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ládá stále zvýšenou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rovou zátěž regionů JHČ, ZLK, LBK a částečně MSK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oravských okresů dále vykazuje vysoké počty záchytů okres Šumperk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476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6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FF"/>
                </a:solidFill>
              </a:rPr>
              <a:t>Klesající trend je významný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</a:rPr>
              <a:t>Většina krajů </a:t>
            </a:r>
            <a:r>
              <a:rPr lang="cs-CZ" sz="2000" b="1" dirty="0">
                <a:solidFill>
                  <a:srgbClr val="0000FF"/>
                </a:solidFill>
              </a:rPr>
              <a:t>již </a:t>
            </a:r>
            <a:r>
              <a:rPr lang="cs-CZ" sz="2000" b="1" dirty="0" smtClean="0">
                <a:solidFill>
                  <a:srgbClr val="0000FF"/>
                </a:solidFill>
              </a:rPr>
              <a:t>klesla </a:t>
            </a:r>
            <a:r>
              <a:rPr lang="cs-CZ" sz="2000" b="1" dirty="0">
                <a:solidFill>
                  <a:srgbClr val="0000FF"/>
                </a:solidFill>
              </a:rPr>
              <a:t>pod týdenní počet nových případů 25/100tis. o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0869125"/>
              </p:ext>
            </p:extLst>
          </p:nvPr>
        </p:nvGraphicFramePr>
        <p:xfrm>
          <a:off x="579564" y="1033447"/>
          <a:ext cx="6019644" cy="5425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epočet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 100tis.obyv.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3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(3.2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(0.8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(1.0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(1.3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(1.0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(0.4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1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 (1.6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(0.6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2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7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 (0.8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861264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22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904916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292" y="621792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193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515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3792633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5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6771746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564435" y="2532342"/>
            <a:ext cx="425907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a reprodukčního čísla je &lt; 1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lesá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důsledku toho se zmenšují rozdíly mezi regiony.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klesající virovou náloží nabývá na významu hodnocení rozdílů na úrovni okresů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3803895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46218516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87022406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17126" y="1994745"/>
            <a:ext cx="354443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la od počátku května 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kraje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ykazují hodnoty tohoto indikátoru pod 5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.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 klesající virovou náloží nabývá na významu hodnocení rozdílů na úrovni okresů.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90035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6.2021</a:t>
            </a:r>
          </a:p>
        </p:txBody>
      </p:sp>
    </p:spTree>
    <p:extLst>
      <p:ext uri="{BB962C8B-B14F-4D97-AF65-F5344CB8AC3E}">
        <p14:creationId xmlns:p14="http://schemas.microsoft.com/office/powerpoint/2010/main" val="132942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35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a indikovaný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ů dosáhla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ý je i pokles nově nakažených potenciálně zranitelných skupin obyvatel. 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5425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605325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481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7546094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8317762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702044" y="1900442"/>
            <a:ext cx="328418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klesají případů se symptomy klesají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šené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vykazují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, Jihočeský,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což koreluje s jejich celkově stále zvýšenou virovou náloží v populaci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457175" y="765095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28A43B-B8CE-4CA0-9E62-5D1B340E18D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95BB39-28E6-4D54-A5B9-0BD3C5428A1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4E86AA1-BE9C-4E9C-B5DD-5783E525570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4F8BAA-8239-4608-983C-EB290DED434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F02E39D-5C41-4DFD-9BB1-86EC9D3223A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B3E34B-A439-4715-8C2A-0A0FCB7FFE6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7D091E-7793-499C-982A-8833D6F4BB3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3C4644-BCF4-4D5D-B09D-428A3734CFE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6.2021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-118815" y="1848012"/>
            <a:ext cx="119103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Měřeno </a:t>
            </a: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vysokým počtem nově potvrzených případů za 7 dní na 100 tis. obyv. </a:t>
            </a:r>
            <a:endParaRPr lang="cs-CZ" sz="2800" b="1" u="sng" dirty="0" smtClean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a zároveň hodnotou </a:t>
            </a: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R &gt; 1</a:t>
            </a: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 je situace riziková zejména v následujících </a:t>
            </a: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okresech: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60523" y="145501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xistují okresy a ORP,</a:t>
            </a:r>
            <a:r>
              <a:rPr kumimoji="0" lang="cs-CZ" sz="35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de je situace riziková </a:t>
            </a:r>
            <a:endParaRPr kumimoji="0" lang="cs-CZ" sz="3500" b="1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5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cs-CZ" sz="35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ůže nastat silnější růst epidemie. </a:t>
            </a:r>
            <a:endParaRPr kumimoji="0" lang="cs-CZ" sz="3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31849" y="609796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860383"/>
              </p:ext>
            </p:extLst>
          </p:nvPr>
        </p:nvGraphicFramePr>
        <p:xfrm>
          <a:off x="3205026" y="2878444"/>
          <a:ext cx="5405357" cy="3002280"/>
        </p:xfrm>
        <a:graphic>
          <a:graphicData uri="http://schemas.openxmlformats.org/drawingml/2006/table">
            <a:tbl>
              <a:tblPr/>
              <a:tblGrid>
                <a:gridCol w="5405357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. </a:t>
                      </a:r>
                      <a:r>
                        <a:rPr lang="cs-CZ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umlov 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424806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584754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29056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94148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42612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5088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881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57638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5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285653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18710453"/>
              </p:ext>
            </p:ext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428" y="1819469"/>
            <a:ext cx="333996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v čase signifikantně kles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zátěž nejvíce zatížených okresů. Žádný z okresů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iž nepřekračuje hodnotu týdenních kumulativních záchytů 100/100tis. obyv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í okresy Č. Krumlov, Klatovy,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Č. Budějovice a Šumperk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50BEE-CD8A-46F6-9446-C78BF9B455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47418-27A7-4D23-8E57-B7B3125E825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79794A-4E8A-458B-B3E9-3CD0D29F6E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06C6D7-C89C-40EC-8F95-B2DD802E13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52DA59-F3A1-4E04-8FDA-DE2C040438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FA2335-64D1-4E61-A09B-E82386934E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3B4FD-0AB4-40E2-85E9-CE4E09FA3F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AD837-364B-4D07-BB24-0D00CC3A223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6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5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1251389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73463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25758369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9997610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33110670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5</a:t>
            </a:r>
            <a:r>
              <a:rPr lang="pl-PL" sz="2000" dirty="0"/>
              <a:t>.6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88721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84343123"/>
              </p:ext>
            </p:extLst>
          </p:nvPr>
        </p:nvGraphicFramePr>
        <p:xfrm>
          <a:off x="4917936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17936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98953112"/>
              </p:ext>
            </p:extLst>
          </p:nvPr>
        </p:nvGraphicFramePr>
        <p:xfrm>
          <a:off x="8389776" y="1342877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45303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</a:t>
            </a:r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BDC83FF3-53F0-488A-8F9B-33F827C46C0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803658"/>
            <a:ext cx="7323165" cy="4798512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</a:t>
            </a:r>
            <a:r>
              <a:rPr lang="pl-PL" sz="2000" dirty="0" smtClean="0"/>
              <a:t>potenciálně </a:t>
            </a:r>
            <a:r>
              <a:rPr lang="pl-PL" sz="2000" dirty="0"/>
              <a:t>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 smtClean="0"/>
              <a:t>7denní </a:t>
            </a:r>
            <a:r>
              <a:rPr lang="cs-CZ" dirty="0"/>
              <a:t>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7denní </a:t>
            </a:r>
            <a:r>
              <a:rPr lang="cs-CZ" dirty="0"/>
              <a:t>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 smtClean="0">
                <a:solidFill>
                  <a:srgbClr val="FF0000"/>
                </a:solidFill>
                <a:latin typeface="Arial" panose="020B0604020202020204"/>
              </a:rPr>
              <a:t>7denní </a:t>
            </a: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počty nových případů &gt; 25/100tis. obyv. a zároveň s R ≥0,9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44362446"/>
              </p:ext>
            </p:extLst>
          </p:nvPr>
        </p:nvGraphicFramePr>
        <p:xfrm>
          <a:off x="9763125" y="770730"/>
          <a:ext cx="2367915" cy="5998720"/>
        </p:xfrm>
        <a:graphic>
          <a:graphicData uri="http://schemas.openxmlformats.org/drawingml/2006/table">
            <a:tbl>
              <a:tblPr/>
              <a:tblGrid>
                <a:gridCol w="2367915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7135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293178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59666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29257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880910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5547949" y="869295"/>
            <a:ext cx="4173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kres</a:t>
            </a:r>
            <a:r>
              <a:rPr lang="cs-CZ" sz="1200" b="1" dirty="0">
                <a:solidFill>
                  <a:srgbClr val="000000"/>
                </a:solidFill>
                <a:latin typeface="Arial" panose="020B0604020202020204"/>
              </a:rPr>
              <a:t>ů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červeně) vykazuje vysoký standardizovaný záchyt počtu nemocných a přitom potenciálně růstovou dynamiku šíření (R blízké 1 nebo nad 1). </a:t>
            </a:r>
            <a:r>
              <a:rPr lang="cs-CZ" sz="1200" b="1" dirty="0" smtClean="0">
                <a:solidFill>
                  <a:srgbClr val="000000"/>
                </a:solidFill>
                <a:latin typeface="Arial" panose="020B0604020202020204"/>
              </a:rPr>
              <a:t>Velmi rizikový vývoj je pozorován v okresech Č. Krumlov, Klatovy a Prachatice.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KRESY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8406626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8B94B2B8-9BEE-4ACD-8B86-9EFA617D4D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0"/>
          <a:stretch/>
        </p:blipFill>
        <p:spPr>
          <a:xfrm>
            <a:off x="251925" y="737721"/>
            <a:ext cx="8272399" cy="525084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</a:t>
            </a:r>
            <a:r>
              <a:rPr lang="pl-PL" sz="2000" dirty="0" smtClean="0"/>
              <a:t>ORP </a:t>
            </a:r>
            <a:r>
              <a:rPr lang="pl-PL" sz="2000" dirty="0"/>
              <a:t>s </a:t>
            </a:r>
            <a:r>
              <a:rPr lang="pl-PL" sz="2000" dirty="0" smtClean="0"/>
              <a:t>potenciálně </a:t>
            </a:r>
            <a:r>
              <a:rPr lang="pl-PL" sz="2000" dirty="0"/>
              <a:t>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mi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mi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mi počty nových případů &gt; 25/100tis. obyv. a zároveň s R ≥0,9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F67D5-8C47-41BA-B2FF-3C4ADE14FA8C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48167539"/>
              </p:ext>
            </p:extLst>
          </p:nvPr>
        </p:nvGraphicFramePr>
        <p:xfrm>
          <a:off x="9270113" y="974156"/>
          <a:ext cx="2303577" cy="5601312"/>
        </p:xfrm>
        <a:graphic>
          <a:graphicData uri="http://schemas.openxmlformats.org/drawingml/2006/table">
            <a:tbl>
              <a:tblPr/>
              <a:tblGrid>
                <a:gridCol w="2303577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uš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958323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vař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idlochov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ravský Krumlov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alašské Meziříčí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enštát pod Radhoštěm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lešov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ravská Třebová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ustopeč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urnov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l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ýdlant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362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ysoké Mýto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43681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ohumín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0015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heln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52036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s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60722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91625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lučín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40274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nvald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57901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ýn nad Vltavou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66474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lovice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58408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948192"/>
                  </a:ext>
                </a:extLst>
              </a:tr>
            </a:tbl>
          </a:graphicData>
        </a:graphic>
      </p:graphicFrame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RP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7694158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8B94B2B8-9BEE-4ACD-8B86-9EFA617D4D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0"/>
          <a:stretch/>
        </p:blipFill>
        <p:spPr>
          <a:xfrm>
            <a:off x="25496" y="737721"/>
            <a:ext cx="8272399" cy="525084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</a:t>
            </a:r>
            <a:r>
              <a:rPr lang="pl-PL" sz="2000" dirty="0" smtClean="0"/>
              <a:t>ORP </a:t>
            </a:r>
            <a:r>
              <a:rPr lang="pl-PL" sz="2000" dirty="0"/>
              <a:t>s </a:t>
            </a:r>
            <a:r>
              <a:rPr lang="pl-PL" sz="2000" dirty="0" smtClean="0"/>
              <a:t>potenciálně </a:t>
            </a:r>
            <a:r>
              <a:rPr lang="pl-PL" sz="2000" dirty="0"/>
              <a:t>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mi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mi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mi počty nových případů &gt; 25/100tis. obyv. a zároveň s R ≥0,9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F67D5-8C47-41BA-B2FF-3C4ADE14FA8C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02828420"/>
              </p:ext>
            </p:extLst>
          </p:nvPr>
        </p:nvGraphicFramePr>
        <p:xfrm>
          <a:off x="8232542" y="835285"/>
          <a:ext cx="1769798" cy="5165862"/>
        </p:xfrm>
        <a:graphic>
          <a:graphicData uri="http://schemas.openxmlformats.org/drawingml/2006/table">
            <a:tbl>
              <a:tblPr/>
              <a:tblGrid>
                <a:gridCol w="1769798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ličk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ršovský Tý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i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ř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ř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elezný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ásl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rav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linsk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anškrou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362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vos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43681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íř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0015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52036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6072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91625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40274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5790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ř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66474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bří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58408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ysá nad Lab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94819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ř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315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ílov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44173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dboř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66354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54B21E8-7BF8-4CA2-ABF1-008D5FF3AE49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1346193"/>
              </p:ext>
            </p:extLst>
          </p:nvPr>
        </p:nvGraphicFramePr>
        <p:xfrm>
          <a:off x="10193183" y="835285"/>
          <a:ext cx="1769798" cy="5761923"/>
        </p:xfrm>
        <a:graphic>
          <a:graphicData uri="http://schemas.openxmlformats.org/drawingml/2006/table">
            <a:tbl>
              <a:tblPr/>
              <a:tblGrid>
                <a:gridCol w="1769798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oň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omyš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lov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nož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pník nad Beč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ý B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362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žnov pod Radhoště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43681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0015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lant nad Ostravic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52036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ít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6072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91625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nsdorf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40274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z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5790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66474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bře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58408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herský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94819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hové Svi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315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ašské Klobou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44173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66354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střice pod Hostýn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63426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č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978024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těboř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9F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780221"/>
                  </a:ext>
                </a:extLst>
              </a:tr>
            </a:tbl>
          </a:graphicData>
        </a:graphic>
      </p:graphicFrame>
      <p:sp>
        <p:nvSpPr>
          <p:cNvPr id="14" name="TextovéPole 1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RP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942582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po 10.5. či 17.5</a:t>
            </a:r>
            <a:r>
              <a:rPr lang="cs-CZ" sz="3200" b="1" dirty="0" smtClean="0">
                <a:solidFill>
                  <a:srgbClr val="0000FF"/>
                </a:solidFill>
              </a:rPr>
              <a:t>. a v pozdějších dnech se </a:t>
            </a:r>
            <a:r>
              <a:rPr lang="cs-CZ" sz="3200" b="1" dirty="0">
                <a:solidFill>
                  <a:srgbClr val="0000FF"/>
                </a:solidFill>
              </a:rPr>
              <a:t>na vývoji epidemie neprojevilo, situace </a:t>
            </a:r>
            <a:r>
              <a:rPr lang="cs-CZ" sz="3200" b="1" dirty="0" smtClean="0">
                <a:solidFill>
                  <a:srgbClr val="0000FF"/>
                </a:solidFill>
              </a:rPr>
              <a:t>je stabilní</a:t>
            </a:r>
            <a:r>
              <a:rPr lang="cs-CZ" sz="3200" b="1" dirty="0">
                <a:solidFill>
                  <a:srgbClr val="0000FF"/>
                </a:solidFill>
              </a:rPr>
              <a:t>. </a:t>
            </a:r>
            <a:r>
              <a:rPr lang="cs-CZ" sz="3200" b="1" dirty="0" smtClean="0">
                <a:solidFill>
                  <a:srgbClr val="0000FF"/>
                </a:solidFill>
              </a:rPr>
              <a:t>V </a:t>
            </a:r>
            <a:r>
              <a:rPr lang="cs-CZ" sz="3200" b="1" dirty="0">
                <a:solidFill>
                  <a:srgbClr val="0000FF"/>
                </a:solidFill>
              </a:rPr>
              <a:t>důsledku postupující vakcinace </a:t>
            </a:r>
            <a:r>
              <a:rPr lang="cs-CZ" sz="3200" b="1" dirty="0" smtClean="0">
                <a:solidFill>
                  <a:srgbClr val="0000FF"/>
                </a:solidFill>
              </a:rPr>
              <a:t>lze očekávat</a:t>
            </a:r>
            <a:r>
              <a:rPr lang="cs-CZ" sz="3200" b="1" dirty="0">
                <a:solidFill>
                  <a:srgbClr val="0000FF"/>
                </a:solidFill>
              </a:rPr>
              <a:t>, že 7denní počet nově potvrzených případů bude dále významně klesat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éměř všech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ů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 setrvale klesá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vněž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ší období lze očekávat pokles, který bude dále umocňován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m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572047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130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237766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8E6F4F5-9FAA-4B1A-BEC6-88673D965E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981718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9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ále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kazuj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pokračující zpomalování epidemie</a:t>
            </a:r>
          </a:p>
        </p:txBody>
      </p:sp>
      <p:cxnSp>
        <p:nvCxnSpPr>
          <p:cNvPr id="3" name="Přímá spojnice se šipkou 2"/>
          <p:cNvCxnSpPr/>
          <p:nvPr/>
        </p:nvCxnSpPr>
        <p:spPr>
          <a:xfrm>
            <a:off x="6144714" y="4893807"/>
            <a:ext cx="5551715" cy="774441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587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0,7 - 0,8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připravených modelů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428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1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sz="1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28653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32777" y="210275"/>
            <a:ext cx="1188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dravotních dopadů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42712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8" y="1999582"/>
            <a:ext cx="1122158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ě optimistické scénáře se v čase naplnily a epidemie začala na populační úrovni významně zpomalovat již v 1. polovině března. Pozitivní dopad na zátěž nemocnic avšak nastal až po 15. březn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z 5.3. jsou nadále funkční a predikce rychlého poklesu zátěže se shodují s realito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byly nově doplněny o předpokládaný efek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119203" y="6140682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916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y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 potvrzených případů v </a:t>
            </a:r>
            <a:r>
              <a:rPr kumimoji="0" lang="cs-CZ" sz="3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i velmi významně klesají. Jde jednoznačně o důsledek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2678364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940189" y="22599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15" name="Tabulka 3">
            <a:extLst>
              <a:ext uri="{FF2B5EF4-FFF2-40B4-BE49-F238E27FC236}">
                <a16:creationId xmlns:a16="http://schemas.microsoft.com/office/drawing/2014/main" id="{3341C7E0-58CD-4321-A53C-60324E914E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848684"/>
              </p:ext>
            </p:extLst>
          </p:nvPr>
        </p:nvGraphicFramePr>
        <p:xfrm>
          <a:off x="4644118" y="15854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75357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y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 potvrzených případů v </a:t>
            </a:r>
            <a:r>
              <a:rPr kumimoji="0" lang="cs-CZ" sz="3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i velmi významně klesají. Jde jednoznačně o důsledek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787789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5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let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50124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8DC94E07-4EA6-4199-8646-9B9E44D4C5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286623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02996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graphicFrame>
        <p:nvGraphicFramePr>
          <p:cNvPr id="10" name="Table 33">
            <a:extLst>
              <a:ext uri="{FF2B5EF4-FFF2-40B4-BE49-F238E27FC236}">
                <a16:creationId xmlns:a16="http://schemas.microsoft.com/office/drawing/2014/main" id="{15B96369-A412-497D-9A01-32BD047C5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6375765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13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Tabulka 4">
            <a:extLst>
              <a:ext uri="{FF2B5EF4-FFF2-40B4-BE49-F238E27FC236}">
                <a16:creationId xmlns:a16="http://schemas.microsoft.com/office/drawing/2014/main" id="{8B03884A-4C25-4A69-97AC-00A207559D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926944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6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7128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/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F4A2274-9770-4BA3-B634-C9E8E852D5B3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6832351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F4A2274-9770-4BA3-B634-C9E8E852D5B3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21" name="TextBox 14">
            <a:extLst>
              <a:ext uri="{FF2B5EF4-FFF2-40B4-BE49-F238E27FC236}">
                <a16:creationId xmlns:a16="http://schemas.microsoft.com/office/drawing/2014/main" id="{1AA508C2-5D79-4079-8D77-CEF6D7B936F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E449D2C8-1C85-4AB3-A632-5022FCF26D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686529" y="643294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4553F7DB-434D-47C6-8DB2-EA1960DD3A9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3417375"/>
              </p:ext>
            </p:extLst>
          </p:nvPr>
        </p:nvGraphicFramePr>
        <p:xfrm>
          <a:off x="386622" y="1872343"/>
          <a:ext cx="11805378" cy="4628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8" name="Skupina 12">
            <a:extLst>
              <a:ext uri="{FF2B5EF4-FFF2-40B4-BE49-F238E27FC236}">
                <a16:creationId xmlns:a16="http://schemas.microsoft.com/office/drawing/2014/main" id="{FD622504-1EB3-4B9F-98D8-34DADD1F7D0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291063" y="5339468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13">
              <a:extLst>
                <a:ext uri="{FF2B5EF4-FFF2-40B4-BE49-F238E27FC236}">
                  <a16:creationId xmlns:a16="http://schemas.microsoft.com/office/drawing/2014/main" id="{CDE48499-DA0F-4FE1-9B36-643A6BCB16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14">
              <a:extLst>
                <a:ext uri="{FF2B5EF4-FFF2-40B4-BE49-F238E27FC236}">
                  <a16:creationId xmlns:a16="http://schemas.microsoft.com/office/drawing/2014/main" id="{0CC0B167-4DEB-4901-B6D6-C279A7B485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15">
              <a:extLst>
                <a:ext uri="{FF2B5EF4-FFF2-40B4-BE49-F238E27FC236}">
                  <a16:creationId xmlns:a16="http://schemas.microsoft.com/office/drawing/2014/main" id="{7199AB7E-6064-4D65-BF6F-1FD085ADDB9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bdélník 16">
              <a:extLst>
                <a:ext uri="{FF2B5EF4-FFF2-40B4-BE49-F238E27FC236}">
                  <a16:creationId xmlns:a16="http://schemas.microsoft.com/office/drawing/2014/main" id="{8F40EAFE-47C2-423F-A454-24E510C4E7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6" name="TextovéPole 28">
              <a:extLst>
                <a:ext uri="{FF2B5EF4-FFF2-40B4-BE49-F238E27FC236}">
                  <a16:creationId xmlns:a16="http://schemas.microsoft.com/office/drawing/2014/main" id="{C8941C22-3DCA-4EE6-B299-6C2658C7C37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3946879" y="2850390"/>
            <a:ext cx="70354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</a:t>
            </a:r>
            <a:r>
              <a:rPr kumimoji="0" lang="cs-CZ" sz="1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více možných scénářů vývoje, včetně rizikového trendu růstu epidemie v populaci při R 1,1. I tento scénář ale ukazuje na stabilitu stávající situace dan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Šipka dolů 17"/>
          <p:cNvSpPr/>
          <p:nvPr/>
        </p:nvSpPr>
        <p:spPr>
          <a:xfrm>
            <a:off x="9439855" y="4429843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41391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E312DE54-3BAA-46C8-89FC-E279B75073D0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698560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E312DE54-3BAA-46C8-89FC-E279B75073D0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1B1AE961-707A-4EAE-80CE-B677AB798D3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315318"/>
              </p:ext>
            </p:extLst>
          </p:nvPr>
        </p:nvGraphicFramePr>
        <p:xfrm>
          <a:off x="557348" y="2013982"/>
          <a:ext cx="11634651" cy="4486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6" name="TextBox 14">
            <a:extLst>
              <a:ext uri="{FF2B5EF4-FFF2-40B4-BE49-F238E27FC236}">
                <a16:creationId xmlns:a16="http://schemas.microsoft.com/office/drawing/2014/main" id="{E7DE8606-A585-481C-9E59-81B98310434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27" name="TextBox 31">
            <a:extLst>
              <a:ext uri="{FF2B5EF4-FFF2-40B4-BE49-F238E27FC236}">
                <a16:creationId xmlns:a16="http://schemas.microsoft.com/office/drawing/2014/main" id="{9FD9FFE2-5A48-4809-A55F-5E55AE187EE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73586" y="64761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2">
            <a:extLst>
              <a:ext uri="{FF2B5EF4-FFF2-40B4-BE49-F238E27FC236}">
                <a16:creationId xmlns:a16="http://schemas.microsoft.com/office/drawing/2014/main" id="{EDB97B3E-82DA-45CD-8E5B-F750DC98457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343084" y="5241832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3">
              <a:extLst>
                <a:ext uri="{FF2B5EF4-FFF2-40B4-BE49-F238E27FC236}">
                  <a16:creationId xmlns:a16="http://schemas.microsoft.com/office/drawing/2014/main" id="{01950E69-57F1-47B6-B711-61C3F3D6FF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4">
              <a:extLst>
                <a:ext uri="{FF2B5EF4-FFF2-40B4-BE49-F238E27FC236}">
                  <a16:creationId xmlns:a16="http://schemas.microsoft.com/office/drawing/2014/main" id="{603963FD-1CC6-4FC2-AE83-5D5D141F0F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25">
              <a:extLst>
                <a:ext uri="{FF2B5EF4-FFF2-40B4-BE49-F238E27FC236}">
                  <a16:creationId xmlns:a16="http://schemas.microsoft.com/office/drawing/2014/main" id="{9BE47418-C01E-41C5-B959-CA631344A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bdélník 26">
              <a:extLst>
                <a:ext uri="{FF2B5EF4-FFF2-40B4-BE49-F238E27FC236}">
                  <a16:creationId xmlns:a16="http://schemas.microsoft.com/office/drawing/2014/main" id="{BC52EE13-D83B-422A-829E-784F16CA7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4BF34176-4D52-4E25-A091-5BB2395E8B8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6" name="TextovéPole 15"/>
          <p:cNvSpPr txBox="1"/>
          <p:nvPr>
            <p:custDataLst>
              <p:tags r:id="rId6"/>
            </p:custDataLst>
          </p:nvPr>
        </p:nvSpPr>
        <p:spPr>
          <a:xfrm>
            <a:off x="3946879" y="2850390"/>
            <a:ext cx="70354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</a:t>
            </a:r>
            <a:r>
              <a:rPr kumimoji="0" lang="cs-CZ" sz="1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více možných scénářů vývoje, včetně rizikového trendu růstu epidemie v populaci při R 1,1. I tento scénář ale ukazuje na stabilitu stávající situace dan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Šipka dolů 16"/>
          <p:cNvSpPr/>
          <p:nvPr/>
        </p:nvSpPr>
        <p:spPr>
          <a:xfrm>
            <a:off x="9439855" y="4429843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6652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611320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  <a:endParaRPr kumimoji="0" lang="cs-CZ" sz="2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34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 5">
            <a:extLst>
              <a:ext uri="{FF2B5EF4-FFF2-40B4-BE49-F238E27FC236}">
                <a16:creationId xmlns:a16="http://schemas.microsoft.com/office/drawing/2014/main" id="{A9E06A8B-F9E9-402F-AA5B-E8A9878686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633698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6.0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0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6 (84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4 (26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52 (57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4 (15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9 (10,0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(5,6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38" name="Skupina 37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39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45" idx="2"/>
              <a:endCxn id="53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56" idx="2"/>
              <a:endCxn id="46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56" idx="2"/>
              <a:endCxn id="52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53" idx="2"/>
              <a:endCxn id="5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53" idx="2"/>
              <a:endCxn id="5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61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45" idx="2"/>
              <a:endCxn id="5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2" name="Table 5">
            <a:extLst>
              <a:ext uri="{FF2B5EF4-FFF2-40B4-BE49-F238E27FC236}">
                <a16:creationId xmlns:a16="http://schemas.microsoft.com/office/drawing/2014/main" id="{323BF246-C2CF-46ED-AAF9-5CB9A94D49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645073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.2021–6.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332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 999 (85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950 (40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 049 (45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333 (14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71 (7,3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62 (6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63" name="Skupina 62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64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69" idx="2"/>
              <a:endCxn id="72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3" idx="2"/>
              <a:endCxn id="70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3" idx="2"/>
              <a:endCxn id="71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72" idx="2"/>
              <a:endCxn id="73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72" idx="2"/>
              <a:endCxn id="78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4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69" idx="2"/>
              <a:endCxn id="93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7289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5405F568-5B06-48B4-AAF9-B7D601C6BF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257882"/>
              </p:ext>
            </p:extLst>
          </p:nvPr>
        </p:nvGraphicFramePr>
        <p:xfrm>
          <a:off x="1661075" y="492807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568797" y="261992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4627215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4CA0163C-8C61-4F31-B891-F586681C5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847724"/>
              </p:ext>
            </p:extLst>
          </p:nvPr>
        </p:nvGraphicFramePr>
        <p:xfrm>
          <a:off x="1584875" y="511857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92597" y="263897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5201763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441597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6572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y prováděné přímo ve školách jsou školami </a:t>
            </a:r>
            <a:r>
              <a:rPr kumimoji="0" lang="cs-CZ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regovaně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 že testy prováděné ve školách neindikují systémový rizikový vývoj či kontinuální eskalaci v šíření epidemie. Hodnoty v jednotlivých krajích různě v čase fluktuují, ale kontinuálně nerostou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m uzavřeném týdnu (17.5. – 30.5.) došlo k nárůstu relativního počtu nákaz u žáků ve více krajích. Tato změna může souviset s návratem dalších ročníků do škol po 17.5., a tedy může jít o „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vesting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 nákaz zjištěných u nových kohort studentů vracejících se do škol. Nárůst se v žádném z regionů významně nevymyká dlouhodobému průměru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záchytů ve školách přepočítané na 100 tis. AG testů jsou dlouhodobě zvýšené v krajích Libereckém a Zlínském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23437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0" y="622875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7 171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2 674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lang="cs-CZ" sz="2200" b="1" dirty="0">
                <a:latin typeface="Arial" panose="020B0604020202020204"/>
              </a:rPr>
              <a:t>37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46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28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0 819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2 674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805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753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017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 066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788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19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342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08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19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5197795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81030" y="1581538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23955" y="1971700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 pou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i="1" dirty="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v MŠ a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 a 2. třídách ZŠ,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ravných třídách, speciálních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aktických školách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37235" y="1853967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386853" y="2523596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>
            <a:off x="6829074" y="3315626"/>
            <a:ext cx="545" cy="109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794423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299165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787125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306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35470" y="2125428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 (70+)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polečně v přirozenou ochranou danou nedávno prodělaným onemocněním přesahuje 80% daných populačních kohort. Tento fakt významně snižuje zátěž nemocnic, klesají  počty nově hospitalizovaných a potenciálně zranitelných pacientů. Kalkulováno na celé dospělé populaci ČR dosahuje tato ochrana téměř 50%. Celkem 47,1% osob ve věku 16+ je očkováno 1. dávkou, 19,6% má očkování ukončené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2241" y="15395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Na významném zpomalení šíření epidemie se podstatně podílí postupující vakcinace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62242" y="584798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51527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4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5. 6. 2021 18:00</a:t>
            </a:r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áchytů na 100 tisíc testů nahlášených ze škol bez dělení na věkové kategor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souhrn za celé sledované období od 12.4.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93130675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 934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501937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86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970670" y="2543611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6 22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255753" y="2543611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8 225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280688" y="5639306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4 897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688015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2 140</a:t>
            </a:r>
          </a:p>
        </p:txBody>
      </p:sp>
    </p:spTree>
    <p:extLst>
      <p:ext uri="{BB962C8B-B14F-4D97-AF65-F5344CB8AC3E}">
        <p14:creationId xmlns:p14="http://schemas.microsoft.com/office/powerpoint/2010/main" val="93848887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6">
            <a:extLst>
              <a:ext uri="{FF2B5EF4-FFF2-40B4-BE49-F238E27FC236}">
                <a16:creationId xmlns:a16="http://schemas.microsoft.com/office/drawing/2014/main" id="{DCB9C751-AE9B-44A7-8FB4-829A6D12679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4362487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54916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6064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20617" y="1727136"/>
            <a:ext cx="305230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esající počet nově nakažených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ěku 0 – 4 let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l velmi významný mezi 13.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a 1.5., a rovněž mezi 1.5. a 4.6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 Počty 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6879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6.2021</a:t>
            </a:r>
          </a:p>
        </p:txBody>
      </p:sp>
    </p:spTree>
    <p:extLst>
      <p:ext uri="{BB962C8B-B14F-4D97-AF65-F5344CB8AC3E}">
        <p14:creationId xmlns:p14="http://schemas.microsoft.com/office/powerpoint/2010/main" val="39420847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51473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2073328"/>
            <a:ext cx="327077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5 – 11 let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klesl mezi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.4. a 1.5., a rovněž mezi 1.5. a 4.6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 Počty 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strují kraje ZLK, LBK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MSK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6.2021</a:t>
            </a:r>
          </a:p>
        </p:txBody>
      </p:sp>
    </p:spTree>
    <p:extLst>
      <p:ext uri="{BB962C8B-B14F-4D97-AF65-F5344CB8AC3E}">
        <p14:creationId xmlns:p14="http://schemas.microsoft.com/office/powerpoint/2010/main" val="33296167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368412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9748" y="2092124"/>
            <a:ext cx="342759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čty nově nakažených dětí ve věku 12 – 19 let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klesly mezi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.4. a 1.5., a rovněž mezi 1.5. a 4.6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. Počty 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ech krajích kles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především kraj Jihočeský.</a:t>
            </a: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6.2021</a:t>
            </a:r>
          </a:p>
        </p:txBody>
      </p:sp>
    </p:spTree>
    <p:extLst>
      <p:ext uri="{BB962C8B-B14F-4D97-AF65-F5344CB8AC3E}">
        <p14:creationId xmlns:p14="http://schemas.microsoft.com/office/powerpoint/2010/main" val="14913933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6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268224" y="701213"/>
          <a:ext cx="11702805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6970" y="1873689"/>
          <a:ext cx="975360" cy="4403292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3669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9 0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514728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4667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19717102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6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220972" y="596438"/>
          <a:ext cx="11750058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6061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7964" y="1571626"/>
          <a:ext cx="975360" cy="4759755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 8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 5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 1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3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4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7 99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 8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06969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 00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41063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5 0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57441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5 3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37837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5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36413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2 8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223415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1C4DBC00-ABAA-47B0-8261-8DCC80EB334A}"/>
              </a:ext>
            </a:extLst>
          </p:cNvPr>
          <p:cNvSpPr/>
          <p:nvPr/>
        </p:nvSpPr>
        <p:spPr>
          <a:xfrm>
            <a:off x="10898203" y="1133052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8C1CA600-C1AF-4587-A467-7F42CC2A7FB0}"/>
              </a:ext>
            </a:extLst>
          </p:cNvPr>
          <p:cNvSpPr/>
          <p:nvPr/>
        </p:nvSpPr>
        <p:spPr>
          <a:xfrm>
            <a:off x="1457203" y="6305556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59AB014-4ED6-424C-B141-75CEC1E1B846}"/>
              </a:ext>
            </a:extLst>
          </p:cNvPr>
          <p:cNvSpPr/>
          <p:nvPr/>
        </p:nvSpPr>
        <p:spPr>
          <a:xfrm>
            <a:off x="4476628" y="86810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4684519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A3D2FF6-B838-44C1-9CC4-65C6AF06D3A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4450" y="1439068"/>
          <a:ext cx="9116862" cy="4964784"/>
        </p:xfrm>
        <a:graphic>
          <a:graphicData uri="http://schemas.openxmlformats.org/drawingml/2006/table">
            <a:tbl>
              <a:tblPr/>
              <a:tblGrid>
                <a:gridCol w="1519477">
                  <a:extLst>
                    <a:ext uri="{9D8B030D-6E8A-4147-A177-3AD203B41FA5}">
                      <a16:colId xmlns:a16="http://schemas.microsoft.com/office/drawing/2014/main" val="886090092"/>
                    </a:ext>
                  </a:extLst>
                </a:gridCol>
                <a:gridCol w="1519477">
                  <a:extLst>
                    <a:ext uri="{9D8B030D-6E8A-4147-A177-3AD203B41FA5}">
                      <a16:colId xmlns:a16="http://schemas.microsoft.com/office/drawing/2014/main" val="431918842"/>
                    </a:ext>
                  </a:extLst>
                </a:gridCol>
                <a:gridCol w="1519477">
                  <a:extLst>
                    <a:ext uri="{9D8B030D-6E8A-4147-A177-3AD203B41FA5}">
                      <a16:colId xmlns:a16="http://schemas.microsoft.com/office/drawing/2014/main" val="2920378335"/>
                    </a:ext>
                  </a:extLst>
                </a:gridCol>
                <a:gridCol w="1519477">
                  <a:extLst>
                    <a:ext uri="{9D8B030D-6E8A-4147-A177-3AD203B41FA5}">
                      <a16:colId xmlns:a16="http://schemas.microsoft.com/office/drawing/2014/main" val="2977954570"/>
                    </a:ext>
                  </a:extLst>
                </a:gridCol>
                <a:gridCol w="1519477">
                  <a:extLst>
                    <a:ext uri="{9D8B030D-6E8A-4147-A177-3AD203B41FA5}">
                      <a16:colId xmlns:a16="http://schemas.microsoft.com/office/drawing/2014/main" val="3106406153"/>
                    </a:ext>
                  </a:extLst>
                </a:gridCol>
                <a:gridCol w="1519477">
                  <a:extLst>
                    <a:ext uri="{9D8B030D-6E8A-4147-A177-3AD203B41FA5}">
                      <a16:colId xmlns:a16="http://schemas.microsoft.com/office/drawing/2014/main" val="3838547862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A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52757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8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19151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7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D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5169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9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57166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81878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E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4125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F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36593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F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84684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63604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AC1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11391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A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6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43687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01518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D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A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16059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F0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69439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39039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792528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 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6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 9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0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3 6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9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8 8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656 413 dávek, z toho 1 652 102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502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podle věku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270837" y="1297867"/>
          <a:ext cx="1721139" cy="4536004"/>
        </p:xfrm>
        <a:graphic>
          <a:graphicData uri="http://schemas.openxmlformats.org/drawingml/2006/table">
            <a:tbl>
              <a:tblPr/>
              <a:tblGrid>
                <a:gridCol w="849812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871327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6 5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9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+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1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 7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 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53299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09393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9 0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4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872275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0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620128"/>
                  </a:ext>
                </a:extLst>
              </a:tr>
              <a:tr h="412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 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3840634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69</TotalTime>
  <Words>4530</Words>
  <Application>Microsoft Office PowerPoint</Application>
  <PresentationFormat>Širokoúhlá obrazovka</PresentationFormat>
  <Paragraphs>925</Paragraphs>
  <Slides>54</Slides>
  <Notes>2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54</vt:i4>
      </vt:variant>
    </vt:vector>
  </HeadingPairs>
  <TitlesOfParts>
    <vt:vector size="68" baseType="lpstr">
      <vt:lpstr>Calibri Light</vt:lpstr>
      <vt:lpstr>Arial</vt:lpstr>
      <vt:lpstr>Calibri</vt:lpstr>
      <vt:lpstr>Arial (Základní text)</vt:lpstr>
      <vt:lpstr>Times New Roman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9_Motiv Office</vt:lpstr>
      <vt:lpstr>2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Prezentace aplikace PowerPoint</vt:lpstr>
      <vt:lpstr>Stav očkování obyvatel v ČR k 6. 6. 2021</vt:lpstr>
      <vt:lpstr>Stav očkování obyvatel v ČR k 6. 6. 2021</vt:lpstr>
      <vt:lpstr>Očkovaní 16 a více let – přehled podle regionů</vt:lpstr>
      <vt:lpstr>Očkování podle věku – aplikované dávky v čase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kresech</vt:lpstr>
      <vt:lpstr>7 denní počet nových případů (na 100 000 obyv.) v ORP</vt:lpstr>
      <vt:lpstr>Zátěž regionů ve vzájemném srovnání krajů k 6.6.</vt:lpstr>
      <vt:lpstr>Vybrané ukazatele – srovnání regionů</vt:lpstr>
      <vt:lpstr>Vybrané ukazatele – srovnání regionů</vt:lpstr>
      <vt:lpstr>R (zjednodušený výpočet) - 7 denní úseky: srovnání krajů k 5.6.</vt:lpstr>
      <vt:lpstr>Relativní pozitivita testů s diagnostickou/epidemiologickou indikací za 7 dní</vt:lpstr>
      <vt:lpstr>Nové symptomatické případy za 7 dní na 100 000 obyvatel</vt:lpstr>
      <vt:lpstr>Prezentace aplikace PowerPoint</vt:lpstr>
      <vt:lpstr>Nové případy za 7 dní na 100 000 obyvatel: 20 okresů s nejvyššími hodnotami k 5.6.</vt:lpstr>
      <vt:lpstr>Nové případy za 7 dní na 100 000 obyvatel: 20 okresů s nejvyššími hodnotami k 5.6.</vt:lpstr>
      <vt:lpstr>20 okresů s nejvyššími hodnotami R k 5.6. a jejich celková populační zátěž </vt:lpstr>
      <vt:lpstr>Přehled okresů s potenciálně rizikovými epidemickými hodnotami</vt:lpstr>
      <vt:lpstr>Přehled ORP s potenciálně rizikovými epidemickými hodnotami</vt:lpstr>
      <vt:lpstr>Přehled ORP s potenciálně rizikovými epidemickými hodnotami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a klinické indikace </vt:lpstr>
      <vt:lpstr>Podíl pozitivních testů: epidemiologické indikace</vt:lpstr>
      <vt:lpstr>Datová a informační základna  pro management pandemie COVID-19</vt:lpstr>
      <vt:lpstr>Kumulativní počet testů provedených přímo ve školách </vt:lpstr>
      <vt:lpstr>Prezentace aplikace PowerPoint</vt:lpstr>
      <vt:lpstr>Testy hlášení ze škol – průběžné výsledky</vt:lpstr>
      <vt:lpstr>Populační záchyty nákazy u dětí různých věkových kategorií</vt:lpstr>
      <vt:lpstr>Počty COVID-19 pozitivních v ČR na 100 000 v populaci</vt:lpstr>
      <vt:lpstr>Testy ve školách – průběžné výsledky (dle CFA) 12.4–4.6.2021 </vt:lpstr>
      <vt:lpstr>Počty nově COVID-19 pozitivních na 100 testů u dětí v čase</vt:lpstr>
      <vt:lpstr>Nové případy za 7 dní na 100 000 obyvatel: srovnání krajů k 4.6.: 0–4 let</vt:lpstr>
      <vt:lpstr>Nové případy za 7 dní na 100 000 obyvatel: srovnání krajů k 4.6.: 5–11 let</vt:lpstr>
      <vt:lpstr>Nové případy za 7 dní na 100 000 obyvatel: srovnání krajů k 4.6.: 12–19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877</cp:revision>
  <dcterms:created xsi:type="dcterms:W3CDTF">2020-11-11T17:36:28Z</dcterms:created>
  <dcterms:modified xsi:type="dcterms:W3CDTF">2021-06-07T19:34:16Z</dcterms:modified>
</cp:coreProperties>
</file>